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5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6.xml" ContentType="application/vnd.openxmlformats-officedocument.them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00" r:id="rId2"/>
    <p:sldMasterId id="2147483725" r:id="rId3"/>
    <p:sldMasterId id="2147483750" r:id="rId4"/>
    <p:sldMasterId id="2147483778" r:id="rId5"/>
    <p:sldMasterId id="2147483804" r:id="rId6"/>
  </p:sldMasterIdLst>
  <p:notesMasterIdLst>
    <p:notesMasterId r:id="rId19"/>
  </p:notesMasterIdLst>
  <p:handoutMasterIdLst>
    <p:handoutMasterId r:id="rId20"/>
  </p:handoutMasterIdLst>
  <p:sldIdLst>
    <p:sldId id="261" r:id="rId7"/>
    <p:sldId id="677" r:id="rId8"/>
    <p:sldId id="679" r:id="rId9"/>
    <p:sldId id="613" r:id="rId10"/>
    <p:sldId id="645" r:id="rId11"/>
    <p:sldId id="678" r:id="rId12"/>
    <p:sldId id="668" r:id="rId13"/>
    <p:sldId id="646" r:id="rId14"/>
    <p:sldId id="676" r:id="rId15"/>
    <p:sldId id="660" r:id="rId16"/>
    <p:sldId id="680" r:id="rId17"/>
    <p:sldId id="672" r:id="rId18"/>
  </p:sldIdLst>
  <p:sldSz cx="9144000" cy="6858000" type="screen4x3"/>
  <p:notesSz cx="6797675" cy="9872663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676" userDrawn="1">
          <p15:clr>
            <a:srgbClr val="A4A3A4"/>
          </p15:clr>
        </p15:guide>
        <p15:guide id="2" pos="2228" userDrawn="1">
          <p15:clr>
            <a:srgbClr val="A4A3A4"/>
          </p15:clr>
        </p15:guide>
        <p15:guide id="3" orient="horz" pos="2905" userDrawn="1">
          <p15:clr>
            <a:srgbClr val="A4A3A4"/>
          </p15:clr>
        </p15:guide>
        <p15:guide id="4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aig Leach" initials="" lastIdx="8" clrIdx="0"/>
  <p:cmAuthor id="1" name="Jenny Cargill" initials="JC" lastIdx="5" clrIdx="1"/>
  <p:cmAuthor id="2" name="Elizabeth Walters" initials="EW" lastIdx="11" clrIdx="2"/>
  <p:cmAuthor id="3" name="Shakira Maharaj" initials="SM" lastIdx="2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CC00"/>
    <a:srgbClr val="B5121B"/>
    <a:srgbClr val="003399"/>
    <a:srgbClr val="00329B"/>
    <a:srgbClr val="009900"/>
    <a:srgbClr val="00BC00"/>
    <a:srgbClr val="99FF66"/>
    <a:srgbClr val="D2F3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24" autoAdjust="0"/>
    <p:restoredTop sz="92675" autoAdjust="0"/>
  </p:normalViewPr>
  <p:slideViewPr>
    <p:cSldViewPr>
      <p:cViewPr>
        <p:scale>
          <a:sx n="101" d="100"/>
          <a:sy n="101" d="100"/>
        </p:scale>
        <p:origin x="-648" y="396"/>
      </p:cViewPr>
      <p:guideLst>
        <p:guide orient="horz" pos="3838"/>
        <p:guide orient="horz" pos="890"/>
        <p:guide pos="5602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2864"/>
        <p:guide orient="horz" pos="3110"/>
        <p:guide pos="216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Prinsloo.F\Documents\aNAMB%20%20Toshiba\Presentations\2015\Artisan%20System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  <a:r>
                      <a:rPr lang="en-US" dirty="0" smtClean="0"/>
                      <a:t> </a:t>
                    </a:r>
                    <a:r>
                      <a:rPr lang="en-US" dirty="0"/>
                      <a:t>Public </a:t>
                    </a:r>
                    <a:endParaRPr lang="en-US" dirty="0" smtClean="0"/>
                  </a:p>
                  <a:p>
                    <a:r>
                      <a:rPr lang="en-US" dirty="0" smtClean="0"/>
                      <a:t>TVET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4 </a:t>
                    </a:r>
                    <a:r>
                      <a:rPr lang="en-US" dirty="0"/>
                      <a:t>Private </a:t>
                    </a:r>
                    <a:endParaRPr lang="en-US" dirty="0" smtClean="0"/>
                  </a:p>
                  <a:p>
                    <a:r>
                      <a:rPr lang="en-US" dirty="0" smtClean="0"/>
                      <a:t>TVET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2 </a:t>
                    </a:r>
                    <a:r>
                      <a:rPr lang="en-US" dirty="0"/>
                      <a:t>TH Schools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2 </a:t>
                    </a:r>
                  </a:p>
                  <a:p>
                    <a:r>
                      <a:rPr lang="en-US" smtClean="0"/>
                      <a:t>Schools </a:t>
                    </a:r>
                    <a:r>
                      <a:rPr lang="en-US"/>
                      <a:t>Of Skill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-6.1278028063407588E-3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 </a:t>
                    </a:r>
                    <a:r>
                      <a:rPr lang="en-US" dirty="0"/>
                      <a:t>State TCs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5.9846638042066816E-3"/>
                  <c:y val="2.0426009354467447E-3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8 </a:t>
                    </a:r>
                  </a:p>
                  <a:p>
                    <a:pPr>
                      <a:defRPr/>
                    </a:pPr>
                    <a:r>
                      <a:rPr lang="en-US"/>
                      <a:t>SOCs TCs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Private </a:t>
                    </a:r>
                    <a:endParaRPr lang="en-US" dirty="0"/>
                  </a:p>
                  <a:p>
                    <a:pPr>
                      <a:defRPr/>
                    </a:pPr>
                    <a:r>
                      <a:rPr lang="en-US" dirty="0"/>
                      <a:t>TCs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0772394847572071E-2"/>
                  <c:y val="2.0426009354467447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08  </a:t>
                    </a:r>
                  </a:p>
                  <a:p>
                    <a:r>
                      <a:rPr lang="en-US" dirty="0" smtClean="0"/>
                      <a:t>Workplaces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 </a:t>
                    </a:r>
                    <a:r>
                      <a:rPr lang="en-US" dirty="0"/>
                      <a:t>Informal </a:t>
                    </a:r>
                  </a:p>
                  <a:p>
                    <a:pPr>
                      <a:defRPr/>
                    </a:pPr>
                    <a:r>
                      <a:rPr lang="en-US" dirty="0"/>
                      <a:t>Sector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  112  TTCs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7 </a:t>
                    </a:r>
                    <a:r>
                      <a:rPr lang="en-US" dirty="0"/>
                      <a:t>SETAs/ NSF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 </a:t>
                    </a:r>
                    <a:r>
                      <a:rPr lang="en-US" dirty="0"/>
                      <a:t>Rep Bodies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 </a:t>
                    </a:r>
                    <a:r>
                      <a:rPr lang="en-US" dirty="0" err="1" smtClean="0"/>
                      <a:t>UoT</a:t>
                    </a:r>
                    <a:endParaRPr lang="en-US" dirty="0" smtClean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multiLvlStrRef>
              <c:f>Sheet1!$A$1:$B$13</c:f>
              <c:multiLvlStrCache>
                <c:ptCount val="13"/>
                <c:lvl>
                  <c:pt idx="0">
                    <c:v>Public TVET</c:v>
                  </c:pt>
                  <c:pt idx="1">
                    <c:v>Private TVET</c:v>
                  </c:pt>
                  <c:pt idx="2">
                    <c:v>TH Schools</c:v>
                  </c:pt>
                  <c:pt idx="3">
                    <c:v>Schools Of Skill</c:v>
                  </c:pt>
                  <c:pt idx="4">
                    <c:v>State TCs</c:v>
                  </c:pt>
                  <c:pt idx="5">
                    <c:v>SOCs TCs</c:v>
                  </c:pt>
                  <c:pt idx="6">
                    <c:v>Private TCs</c:v>
                  </c:pt>
                  <c:pt idx="7">
                    <c:v>Workplaces</c:v>
                  </c:pt>
                  <c:pt idx="8">
                    <c:v>Informal Sector</c:v>
                  </c:pt>
                  <c:pt idx="9">
                    <c:v>TTCs</c:v>
                  </c:pt>
                  <c:pt idx="10">
                    <c:v>SETAs/ NSF</c:v>
                  </c:pt>
                  <c:pt idx="11">
                    <c:v>Rep Bodies</c:v>
                  </c:pt>
                  <c:pt idx="12">
                    <c:v>UoTs / Cus</c:v>
                  </c:pt>
                </c:lvl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</c:lvl>
              </c:multiLvlStrCache>
            </c:multiLvlStrRef>
          </c:cat>
          <c:val>
            <c:numRef>
              <c:f>Sheet1!$C$1:$C$13</c:f>
              <c:numCache>
                <c:formatCode>General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400" b="1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38BE9D-A408-4F31-A381-C5A729304885}" type="doc">
      <dgm:prSet loTypeId="urn:microsoft.com/office/officeart/2008/layout/RadialCluster" loCatId="relationship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ZA"/>
        </a:p>
      </dgm:t>
    </dgm:pt>
    <dgm:pt modelId="{09163FDD-DE4C-4C4C-B54A-0BCC206AC7A6}">
      <dgm:prSet phldrT="[Text]" custT="1"/>
      <dgm:spPr>
        <a:ln>
          <a:noFill/>
          <a:prstDash val="solid"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ZA" sz="2800" b="1" dirty="0" smtClean="0">
              <a:solidFill>
                <a:schemeClr val="tx1"/>
              </a:solidFill>
            </a:rPr>
            <a:t>DEDAT</a:t>
          </a:r>
        </a:p>
        <a:p>
          <a:r>
            <a:rPr lang="en-ZA" sz="3500" b="1" dirty="0" smtClean="0">
              <a:solidFill>
                <a:schemeClr val="tx1"/>
              </a:solidFill>
            </a:rPr>
            <a:t> &amp;</a:t>
          </a:r>
        </a:p>
      </dgm:t>
    </dgm:pt>
    <dgm:pt modelId="{96A23081-95DE-414E-9CFE-8B4CD4A54FCC}" type="parTrans" cxnId="{3FA9C0B4-9AB0-44F4-A45A-BFB7C7E9B5C5}">
      <dgm:prSet/>
      <dgm:spPr/>
      <dgm:t>
        <a:bodyPr/>
        <a:lstStyle/>
        <a:p>
          <a:endParaRPr lang="en-ZA"/>
        </a:p>
      </dgm:t>
    </dgm:pt>
    <dgm:pt modelId="{F2F917AE-B82D-4576-B9B3-6BF418065EC6}" type="sibTrans" cxnId="{3FA9C0B4-9AB0-44F4-A45A-BFB7C7E9B5C5}">
      <dgm:prSet/>
      <dgm:spPr/>
      <dgm:t>
        <a:bodyPr/>
        <a:lstStyle/>
        <a:p>
          <a:endParaRPr lang="en-ZA"/>
        </a:p>
      </dgm:t>
    </dgm:pt>
    <dgm:pt modelId="{BF61177B-C37F-4309-B09D-14CF8E0CF9A8}">
      <dgm:prSet phldrT="[Text]"/>
      <dgm:spPr>
        <a:ln w="57150"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ZA" b="1" dirty="0" smtClean="0">
              <a:solidFill>
                <a:schemeClr val="tx1"/>
              </a:solidFill>
            </a:rPr>
            <a:t>Host Company</a:t>
          </a:r>
          <a:endParaRPr lang="en-ZA" b="1" dirty="0">
            <a:solidFill>
              <a:schemeClr val="tx1"/>
            </a:solidFill>
          </a:endParaRPr>
        </a:p>
      </dgm:t>
    </dgm:pt>
    <dgm:pt modelId="{EC2B9671-96FF-4F97-ABBC-58F792A0D774}" type="parTrans" cxnId="{72A57653-C171-451F-9C45-944890AF83C3}">
      <dgm:prSet/>
      <dgm:spPr/>
      <dgm:t>
        <a:bodyPr/>
        <a:lstStyle/>
        <a:p>
          <a:endParaRPr lang="en-ZA"/>
        </a:p>
      </dgm:t>
    </dgm:pt>
    <dgm:pt modelId="{7E4AD9EE-BCCC-4FB3-B0B1-37FAD5CD84A5}" type="sibTrans" cxnId="{72A57653-C171-451F-9C45-944890AF83C3}">
      <dgm:prSet/>
      <dgm:spPr/>
      <dgm:t>
        <a:bodyPr/>
        <a:lstStyle/>
        <a:p>
          <a:endParaRPr lang="en-ZA"/>
        </a:p>
      </dgm:t>
    </dgm:pt>
    <dgm:pt modelId="{BA0180A7-6778-4394-AB13-16B762BF5F79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ZA" b="1" dirty="0" smtClean="0">
              <a:solidFill>
                <a:schemeClr val="tx1"/>
              </a:solidFill>
            </a:rPr>
            <a:t>Learner</a:t>
          </a:r>
          <a:endParaRPr lang="en-ZA" b="1" dirty="0">
            <a:solidFill>
              <a:schemeClr val="tx1"/>
            </a:solidFill>
          </a:endParaRPr>
        </a:p>
      </dgm:t>
    </dgm:pt>
    <dgm:pt modelId="{B4817AE3-5DEE-48E5-80A2-43D757E7FF3E}" type="parTrans" cxnId="{5A207F43-63DF-47A1-A54E-14310BA6EC33}">
      <dgm:prSet/>
      <dgm:spPr/>
      <dgm:t>
        <a:bodyPr/>
        <a:lstStyle/>
        <a:p>
          <a:endParaRPr lang="en-ZA"/>
        </a:p>
      </dgm:t>
    </dgm:pt>
    <dgm:pt modelId="{891CC489-87BC-41CB-A623-FBCA5893EE33}" type="sibTrans" cxnId="{5A207F43-63DF-47A1-A54E-14310BA6EC33}">
      <dgm:prSet/>
      <dgm:spPr/>
      <dgm:t>
        <a:bodyPr/>
        <a:lstStyle/>
        <a:p>
          <a:endParaRPr lang="en-ZA"/>
        </a:p>
      </dgm:t>
    </dgm:pt>
    <dgm:pt modelId="{B455F49E-2ABF-4940-8560-C568211FB68C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ZA" b="1" dirty="0" smtClean="0">
              <a:solidFill>
                <a:schemeClr val="tx1"/>
              </a:solidFill>
            </a:rPr>
            <a:t>Sources of Supply (company, TVET system, community)</a:t>
          </a:r>
          <a:endParaRPr lang="en-ZA" b="1" dirty="0">
            <a:solidFill>
              <a:schemeClr val="tx1"/>
            </a:solidFill>
          </a:endParaRPr>
        </a:p>
      </dgm:t>
    </dgm:pt>
    <dgm:pt modelId="{70F9C49D-3A36-4BAE-9F12-D1862D36B255}" type="parTrans" cxnId="{F5280CBF-891C-4CDC-9B93-D38F7B628C63}">
      <dgm:prSet/>
      <dgm:spPr/>
      <dgm:t>
        <a:bodyPr/>
        <a:lstStyle/>
        <a:p>
          <a:endParaRPr lang="en-ZA"/>
        </a:p>
      </dgm:t>
    </dgm:pt>
    <dgm:pt modelId="{3B4658F4-2851-49F9-9B17-30504A851508}" type="sibTrans" cxnId="{F5280CBF-891C-4CDC-9B93-D38F7B628C63}">
      <dgm:prSet/>
      <dgm:spPr/>
      <dgm:t>
        <a:bodyPr/>
        <a:lstStyle/>
        <a:p>
          <a:endParaRPr lang="en-ZA"/>
        </a:p>
      </dgm:t>
    </dgm:pt>
    <dgm:pt modelId="{93C18F0A-5BCB-4C55-B8CC-3D38C83F193F}" type="pres">
      <dgm:prSet presAssocID="{CF38BE9D-A408-4F31-A381-C5A729304885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64CFE7F1-F070-46CD-BF77-D73BF24F30CA}" type="pres">
      <dgm:prSet presAssocID="{09163FDD-DE4C-4C4C-B54A-0BCC206AC7A6}" presName="singleCycle" presStyleCnt="0"/>
      <dgm:spPr/>
    </dgm:pt>
    <dgm:pt modelId="{430FAB9E-2CD2-4917-8F29-A77FF110905E}" type="pres">
      <dgm:prSet presAssocID="{09163FDD-DE4C-4C4C-B54A-0BCC206AC7A6}" presName="singleCenter" presStyleLbl="node1" presStyleIdx="0" presStyleCnt="4" custScaleX="143554" custScaleY="181624" custLinFactNeighborY="-1820">
        <dgm:presLayoutVars>
          <dgm:chMax val="7"/>
          <dgm:chPref val="7"/>
        </dgm:presLayoutVars>
      </dgm:prSet>
      <dgm:spPr/>
      <dgm:t>
        <a:bodyPr/>
        <a:lstStyle/>
        <a:p>
          <a:endParaRPr lang="en-ZA"/>
        </a:p>
      </dgm:t>
    </dgm:pt>
    <dgm:pt modelId="{B173B56B-B1AD-4B9F-9128-5C02DCDD0048}" type="pres">
      <dgm:prSet presAssocID="{EC2B9671-96FF-4F97-ABBC-58F792A0D774}" presName="Name56" presStyleLbl="parChTrans1D2" presStyleIdx="0" presStyleCnt="3"/>
      <dgm:spPr/>
      <dgm:t>
        <a:bodyPr/>
        <a:lstStyle/>
        <a:p>
          <a:endParaRPr lang="en-ZA"/>
        </a:p>
      </dgm:t>
    </dgm:pt>
    <dgm:pt modelId="{3E5A2763-BDD0-4126-AE7D-B33B9843120F}" type="pres">
      <dgm:prSet presAssocID="{BF61177B-C37F-4309-B09D-14CF8E0CF9A8}" presName="text0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ECA9DAA-8F68-4F43-ADE0-8FA5BB07F37D}" type="pres">
      <dgm:prSet presAssocID="{B4817AE3-5DEE-48E5-80A2-43D757E7FF3E}" presName="Name56" presStyleLbl="parChTrans1D2" presStyleIdx="1" presStyleCnt="3"/>
      <dgm:spPr/>
      <dgm:t>
        <a:bodyPr/>
        <a:lstStyle/>
        <a:p>
          <a:endParaRPr lang="en-ZA"/>
        </a:p>
      </dgm:t>
    </dgm:pt>
    <dgm:pt modelId="{A003F425-D94D-46C8-B1AE-C1D257E4B6EE}" type="pres">
      <dgm:prSet presAssocID="{BA0180A7-6778-4394-AB13-16B762BF5F79}" presName="text0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2A56FE2-6AF9-485D-842A-0C041C96BCB5}" type="pres">
      <dgm:prSet presAssocID="{70F9C49D-3A36-4BAE-9F12-D1862D36B255}" presName="Name56" presStyleLbl="parChTrans1D2" presStyleIdx="2" presStyleCnt="3"/>
      <dgm:spPr/>
      <dgm:t>
        <a:bodyPr/>
        <a:lstStyle/>
        <a:p>
          <a:endParaRPr lang="en-ZA"/>
        </a:p>
      </dgm:t>
    </dgm:pt>
    <dgm:pt modelId="{222AF6C2-D840-46EF-9F60-F633E8514FB7}" type="pres">
      <dgm:prSet presAssocID="{B455F49E-2ABF-4940-8560-C568211FB68C}" presName="text0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5DA4E33A-8BDB-4B80-91B7-B3913C6489A3}" type="presOf" srcId="{CF38BE9D-A408-4F31-A381-C5A729304885}" destId="{93C18F0A-5BCB-4C55-B8CC-3D38C83F193F}" srcOrd="0" destOrd="0" presId="urn:microsoft.com/office/officeart/2008/layout/RadialCluster"/>
    <dgm:cxn modelId="{CB29D2F6-7D36-4A90-BCD1-587A14C08E06}" type="presOf" srcId="{70F9C49D-3A36-4BAE-9F12-D1862D36B255}" destId="{12A56FE2-6AF9-485D-842A-0C041C96BCB5}" srcOrd="0" destOrd="0" presId="urn:microsoft.com/office/officeart/2008/layout/RadialCluster"/>
    <dgm:cxn modelId="{3FA9C0B4-9AB0-44F4-A45A-BFB7C7E9B5C5}" srcId="{CF38BE9D-A408-4F31-A381-C5A729304885}" destId="{09163FDD-DE4C-4C4C-B54A-0BCC206AC7A6}" srcOrd="0" destOrd="0" parTransId="{96A23081-95DE-414E-9CFE-8B4CD4A54FCC}" sibTransId="{F2F917AE-B82D-4576-B9B3-6BF418065EC6}"/>
    <dgm:cxn modelId="{BDFDDC67-4422-4608-A7A0-C1B3D9117CFD}" type="presOf" srcId="{EC2B9671-96FF-4F97-ABBC-58F792A0D774}" destId="{B173B56B-B1AD-4B9F-9128-5C02DCDD0048}" srcOrd="0" destOrd="0" presId="urn:microsoft.com/office/officeart/2008/layout/RadialCluster"/>
    <dgm:cxn modelId="{DC9C060D-0723-430C-94C9-A62A7A1A856A}" type="presOf" srcId="{B4817AE3-5DEE-48E5-80A2-43D757E7FF3E}" destId="{3ECA9DAA-8F68-4F43-ADE0-8FA5BB07F37D}" srcOrd="0" destOrd="0" presId="urn:microsoft.com/office/officeart/2008/layout/RadialCluster"/>
    <dgm:cxn modelId="{FD081176-5F3F-420C-B642-0FF035182C76}" type="presOf" srcId="{BA0180A7-6778-4394-AB13-16B762BF5F79}" destId="{A003F425-D94D-46C8-B1AE-C1D257E4B6EE}" srcOrd="0" destOrd="0" presId="urn:microsoft.com/office/officeart/2008/layout/RadialCluster"/>
    <dgm:cxn modelId="{8366F7F3-F686-491D-80C9-ECADD72EAEE2}" type="presOf" srcId="{B455F49E-2ABF-4940-8560-C568211FB68C}" destId="{222AF6C2-D840-46EF-9F60-F633E8514FB7}" srcOrd="0" destOrd="0" presId="urn:microsoft.com/office/officeart/2008/layout/RadialCluster"/>
    <dgm:cxn modelId="{72A57653-C171-451F-9C45-944890AF83C3}" srcId="{09163FDD-DE4C-4C4C-B54A-0BCC206AC7A6}" destId="{BF61177B-C37F-4309-B09D-14CF8E0CF9A8}" srcOrd="0" destOrd="0" parTransId="{EC2B9671-96FF-4F97-ABBC-58F792A0D774}" sibTransId="{7E4AD9EE-BCCC-4FB3-B0B1-37FAD5CD84A5}"/>
    <dgm:cxn modelId="{5A207F43-63DF-47A1-A54E-14310BA6EC33}" srcId="{09163FDD-DE4C-4C4C-B54A-0BCC206AC7A6}" destId="{BA0180A7-6778-4394-AB13-16B762BF5F79}" srcOrd="1" destOrd="0" parTransId="{B4817AE3-5DEE-48E5-80A2-43D757E7FF3E}" sibTransId="{891CC489-87BC-41CB-A623-FBCA5893EE33}"/>
    <dgm:cxn modelId="{F5280CBF-891C-4CDC-9B93-D38F7B628C63}" srcId="{09163FDD-DE4C-4C4C-B54A-0BCC206AC7A6}" destId="{B455F49E-2ABF-4940-8560-C568211FB68C}" srcOrd="2" destOrd="0" parTransId="{70F9C49D-3A36-4BAE-9F12-D1862D36B255}" sibTransId="{3B4658F4-2851-49F9-9B17-30504A851508}"/>
    <dgm:cxn modelId="{B6E73226-5A00-4BC3-B4BD-38475EDDA0CA}" type="presOf" srcId="{09163FDD-DE4C-4C4C-B54A-0BCC206AC7A6}" destId="{430FAB9E-2CD2-4917-8F29-A77FF110905E}" srcOrd="0" destOrd="0" presId="urn:microsoft.com/office/officeart/2008/layout/RadialCluster"/>
    <dgm:cxn modelId="{1985FA33-14C1-4EB5-8E64-DDC01534F401}" type="presOf" srcId="{BF61177B-C37F-4309-B09D-14CF8E0CF9A8}" destId="{3E5A2763-BDD0-4126-AE7D-B33B9843120F}" srcOrd="0" destOrd="0" presId="urn:microsoft.com/office/officeart/2008/layout/RadialCluster"/>
    <dgm:cxn modelId="{B1B2F316-119C-4279-B71A-0CE699388AC7}" type="presParOf" srcId="{93C18F0A-5BCB-4C55-B8CC-3D38C83F193F}" destId="{64CFE7F1-F070-46CD-BF77-D73BF24F30CA}" srcOrd="0" destOrd="0" presId="urn:microsoft.com/office/officeart/2008/layout/RadialCluster"/>
    <dgm:cxn modelId="{21C4AB2F-487E-4FA8-980F-27B6FE89A9AC}" type="presParOf" srcId="{64CFE7F1-F070-46CD-BF77-D73BF24F30CA}" destId="{430FAB9E-2CD2-4917-8F29-A77FF110905E}" srcOrd="0" destOrd="0" presId="urn:microsoft.com/office/officeart/2008/layout/RadialCluster"/>
    <dgm:cxn modelId="{CE39D4DF-4B5B-4CD3-B264-C549CDEA9E8C}" type="presParOf" srcId="{64CFE7F1-F070-46CD-BF77-D73BF24F30CA}" destId="{B173B56B-B1AD-4B9F-9128-5C02DCDD0048}" srcOrd="1" destOrd="0" presId="urn:microsoft.com/office/officeart/2008/layout/RadialCluster"/>
    <dgm:cxn modelId="{8C47EBA4-A97A-4D62-A6B6-B8A24E860764}" type="presParOf" srcId="{64CFE7F1-F070-46CD-BF77-D73BF24F30CA}" destId="{3E5A2763-BDD0-4126-AE7D-B33B9843120F}" srcOrd="2" destOrd="0" presId="urn:microsoft.com/office/officeart/2008/layout/RadialCluster"/>
    <dgm:cxn modelId="{34D7F0E0-88A8-4ED9-947D-E98041A930C6}" type="presParOf" srcId="{64CFE7F1-F070-46CD-BF77-D73BF24F30CA}" destId="{3ECA9DAA-8F68-4F43-ADE0-8FA5BB07F37D}" srcOrd="3" destOrd="0" presId="urn:microsoft.com/office/officeart/2008/layout/RadialCluster"/>
    <dgm:cxn modelId="{D73E9304-BD9A-4CE5-8E24-F3A4F402E3FC}" type="presParOf" srcId="{64CFE7F1-F070-46CD-BF77-D73BF24F30CA}" destId="{A003F425-D94D-46C8-B1AE-C1D257E4B6EE}" srcOrd="4" destOrd="0" presId="urn:microsoft.com/office/officeart/2008/layout/RadialCluster"/>
    <dgm:cxn modelId="{167EB6A1-979A-414D-BA14-9E44001785B5}" type="presParOf" srcId="{64CFE7F1-F070-46CD-BF77-D73BF24F30CA}" destId="{12A56FE2-6AF9-485D-842A-0C041C96BCB5}" srcOrd="5" destOrd="0" presId="urn:microsoft.com/office/officeart/2008/layout/RadialCluster"/>
    <dgm:cxn modelId="{38108C6F-B39F-4BFE-B7AA-5D06A5BEC357}" type="presParOf" srcId="{64CFE7F1-F070-46CD-BF77-D73BF24F30CA}" destId="{222AF6C2-D840-46EF-9F60-F633E8514FB7}" srcOrd="6" destOrd="0" presId="urn:microsoft.com/office/officeart/2008/layout/RadialCluster"/>
  </dgm:cxnLst>
  <dgm:bg/>
  <dgm:whole>
    <a:ln w="38100"/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616FEE1-626F-4486-9185-6F94253BAA5E}" type="doc">
      <dgm:prSet loTypeId="urn:microsoft.com/office/officeart/2005/8/layout/chart3" loCatId="cycle" qsTypeId="urn:microsoft.com/office/officeart/2005/8/quickstyle/simple1" qsCatId="simple" csTypeId="urn:microsoft.com/office/officeart/2005/8/colors/colorful1" csCatId="colorful" phldr="1"/>
      <dgm:spPr/>
    </dgm:pt>
    <dgm:pt modelId="{01E34B45-8E35-49AF-BAD5-0DC0FDAFDA89}">
      <dgm:prSet phldrT="[Text]" custT="1"/>
      <dgm:spPr/>
      <dgm:t>
        <a:bodyPr/>
        <a:lstStyle/>
        <a:p>
          <a:r>
            <a:rPr lang="en-ZA" sz="1400" b="1" dirty="0" smtClean="0"/>
            <a:t>Tourism</a:t>
          </a:r>
          <a:endParaRPr lang="en-ZA" sz="1400" dirty="0"/>
        </a:p>
      </dgm:t>
    </dgm:pt>
    <dgm:pt modelId="{927462DA-B0D1-4138-808C-ACE7BE5F2E38}" type="parTrans" cxnId="{834664BF-1088-4AD4-A484-636802A3A093}">
      <dgm:prSet/>
      <dgm:spPr/>
      <dgm:t>
        <a:bodyPr/>
        <a:lstStyle/>
        <a:p>
          <a:endParaRPr lang="en-ZA" sz="2400"/>
        </a:p>
      </dgm:t>
    </dgm:pt>
    <dgm:pt modelId="{B8B2FC69-52DD-47CE-ADE8-85F5ABF2565A}" type="sibTrans" cxnId="{834664BF-1088-4AD4-A484-636802A3A093}">
      <dgm:prSet/>
      <dgm:spPr/>
      <dgm:t>
        <a:bodyPr/>
        <a:lstStyle/>
        <a:p>
          <a:endParaRPr lang="en-ZA" sz="2400"/>
        </a:p>
      </dgm:t>
    </dgm:pt>
    <dgm:pt modelId="{E3327CF3-E70C-4627-8FD2-0577C8141FE9}">
      <dgm:prSet custT="1"/>
      <dgm:spPr/>
      <dgm:t>
        <a:bodyPr/>
        <a:lstStyle/>
        <a:p>
          <a:r>
            <a:rPr lang="en-ZA" sz="1400" b="1" dirty="0" smtClean="0"/>
            <a:t>Oil &amp; Gas</a:t>
          </a:r>
        </a:p>
      </dgm:t>
    </dgm:pt>
    <dgm:pt modelId="{8F0EAB8C-B6DE-4949-932D-4EAE10DDCCB4}" type="parTrans" cxnId="{7B51EA58-DFB7-4486-9DB9-EA7AA5DC8069}">
      <dgm:prSet/>
      <dgm:spPr/>
      <dgm:t>
        <a:bodyPr/>
        <a:lstStyle/>
        <a:p>
          <a:endParaRPr lang="en-ZA" sz="2400"/>
        </a:p>
      </dgm:t>
    </dgm:pt>
    <dgm:pt modelId="{CE655B83-170F-4959-9C64-C455D26F06C0}" type="sibTrans" cxnId="{7B51EA58-DFB7-4486-9DB9-EA7AA5DC8069}">
      <dgm:prSet/>
      <dgm:spPr/>
      <dgm:t>
        <a:bodyPr/>
        <a:lstStyle/>
        <a:p>
          <a:endParaRPr lang="en-ZA" sz="2400"/>
        </a:p>
      </dgm:t>
    </dgm:pt>
    <dgm:pt modelId="{34A0CFD5-8963-48C5-AF4C-7FEF8FD9681D}">
      <dgm:prSet custT="1"/>
      <dgm:spPr/>
      <dgm:t>
        <a:bodyPr/>
        <a:lstStyle/>
        <a:p>
          <a:r>
            <a:rPr lang="en-ZA" sz="1400" b="1" dirty="0" smtClean="0"/>
            <a:t>BPO</a:t>
          </a:r>
        </a:p>
      </dgm:t>
    </dgm:pt>
    <dgm:pt modelId="{3F1F4749-A128-4555-A7E0-3B88D42E31DB}" type="parTrans" cxnId="{E89E7D69-CD88-4766-BE32-D4D3E7269432}">
      <dgm:prSet/>
      <dgm:spPr/>
      <dgm:t>
        <a:bodyPr/>
        <a:lstStyle/>
        <a:p>
          <a:endParaRPr lang="en-ZA" sz="2400"/>
        </a:p>
      </dgm:t>
    </dgm:pt>
    <dgm:pt modelId="{526C2F77-6A68-4823-BF34-3CD9784A3095}" type="sibTrans" cxnId="{E89E7D69-CD88-4766-BE32-D4D3E7269432}">
      <dgm:prSet/>
      <dgm:spPr/>
      <dgm:t>
        <a:bodyPr/>
        <a:lstStyle/>
        <a:p>
          <a:endParaRPr lang="en-ZA" sz="2400"/>
        </a:p>
      </dgm:t>
    </dgm:pt>
    <dgm:pt modelId="{C27F9DC7-2405-461A-9A78-16D6F66ED8AE}">
      <dgm:prSet custT="1"/>
      <dgm:spPr/>
      <dgm:t>
        <a:bodyPr/>
        <a:lstStyle/>
        <a:p>
          <a:r>
            <a:rPr lang="en-ZA" sz="1350" b="1" dirty="0" smtClean="0"/>
            <a:t>Agri- processing</a:t>
          </a:r>
        </a:p>
      </dgm:t>
    </dgm:pt>
    <dgm:pt modelId="{A7C6270B-AA62-4836-AD86-04DFACDB1D65}" type="parTrans" cxnId="{D72CD336-2EE3-41CC-8C9A-8D6EAA75BBD5}">
      <dgm:prSet/>
      <dgm:spPr/>
      <dgm:t>
        <a:bodyPr/>
        <a:lstStyle/>
        <a:p>
          <a:endParaRPr lang="en-ZA" sz="2400"/>
        </a:p>
      </dgm:t>
    </dgm:pt>
    <dgm:pt modelId="{052EC33B-B92C-4F8F-BAE3-58A36EDDD52B}" type="sibTrans" cxnId="{D72CD336-2EE3-41CC-8C9A-8D6EAA75BBD5}">
      <dgm:prSet/>
      <dgm:spPr/>
      <dgm:t>
        <a:bodyPr/>
        <a:lstStyle/>
        <a:p>
          <a:endParaRPr lang="en-ZA" sz="2400"/>
        </a:p>
      </dgm:t>
    </dgm:pt>
    <dgm:pt modelId="{E17E0FD0-8F68-4821-8876-5DFC52F55FAE}">
      <dgm:prSet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n-ZA" sz="1400" b="1" dirty="0" smtClean="0"/>
            <a:t>Renewables</a:t>
          </a:r>
        </a:p>
      </dgm:t>
    </dgm:pt>
    <dgm:pt modelId="{CD17DD7C-82BE-425B-815B-8E02C74FC851}" type="parTrans" cxnId="{BF3AFA3B-064C-4746-BAE9-FA838ED2499C}">
      <dgm:prSet/>
      <dgm:spPr/>
      <dgm:t>
        <a:bodyPr/>
        <a:lstStyle/>
        <a:p>
          <a:endParaRPr lang="en-ZA" sz="2400"/>
        </a:p>
      </dgm:t>
    </dgm:pt>
    <dgm:pt modelId="{B97F695F-3C71-4F60-B792-C08BEA6C6031}" type="sibTrans" cxnId="{BF3AFA3B-064C-4746-BAE9-FA838ED2499C}">
      <dgm:prSet/>
      <dgm:spPr/>
      <dgm:t>
        <a:bodyPr/>
        <a:lstStyle/>
        <a:p>
          <a:endParaRPr lang="en-ZA" sz="2400"/>
        </a:p>
      </dgm:t>
    </dgm:pt>
    <dgm:pt modelId="{E7ED5310-7FF5-46A6-A59F-110C9F13C154}">
      <dgm:prSet custT="1"/>
      <dgm:spPr/>
      <dgm:t>
        <a:bodyPr/>
        <a:lstStyle/>
        <a:p>
          <a:r>
            <a:rPr lang="en-ZA" sz="1400" b="1" dirty="0" smtClean="0"/>
            <a:t>Film</a:t>
          </a:r>
        </a:p>
      </dgm:t>
    </dgm:pt>
    <dgm:pt modelId="{E573F7E9-7EB7-4E75-8508-276BCB7CD0BA}" type="parTrans" cxnId="{A12CC2BC-0F59-40AE-8BC5-89E9CA12BCD3}">
      <dgm:prSet/>
      <dgm:spPr/>
      <dgm:t>
        <a:bodyPr/>
        <a:lstStyle/>
        <a:p>
          <a:endParaRPr lang="en-ZA"/>
        </a:p>
      </dgm:t>
    </dgm:pt>
    <dgm:pt modelId="{9E993BC3-0950-456B-AB43-173428770D75}" type="sibTrans" cxnId="{A12CC2BC-0F59-40AE-8BC5-89E9CA12BCD3}">
      <dgm:prSet/>
      <dgm:spPr/>
      <dgm:t>
        <a:bodyPr/>
        <a:lstStyle/>
        <a:p>
          <a:endParaRPr lang="en-ZA"/>
        </a:p>
      </dgm:t>
    </dgm:pt>
    <dgm:pt modelId="{BF3101FE-1024-4796-BCAA-F0D42D22858C}" type="pres">
      <dgm:prSet presAssocID="{7616FEE1-626F-4486-9185-6F94253BAA5E}" presName="compositeShape" presStyleCnt="0">
        <dgm:presLayoutVars>
          <dgm:chMax val="7"/>
          <dgm:dir/>
          <dgm:resizeHandles val="exact"/>
        </dgm:presLayoutVars>
      </dgm:prSet>
      <dgm:spPr/>
    </dgm:pt>
    <dgm:pt modelId="{7EF74B99-6357-4823-927A-0A6D7C45FC80}" type="pres">
      <dgm:prSet presAssocID="{7616FEE1-626F-4486-9185-6F94253BAA5E}" presName="wedge1" presStyleLbl="node1" presStyleIdx="0" presStyleCnt="6" custLinFactNeighborX="918" custLinFactNeighborY="-1135"/>
      <dgm:spPr/>
      <dgm:t>
        <a:bodyPr/>
        <a:lstStyle/>
        <a:p>
          <a:endParaRPr lang="en-ZA"/>
        </a:p>
      </dgm:t>
    </dgm:pt>
    <dgm:pt modelId="{373E8E4D-1A66-4DAE-BFDF-C28820C35B02}" type="pres">
      <dgm:prSet presAssocID="{7616FEE1-626F-4486-9185-6F94253BAA5E}" presName="wedge1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AB59AFA-9F4D-4E0D-825C-1ACB84E1DC9D}" type="pres">
      <dgm:prSet presAssocID="{7616FEE1-626F-4486-9185-6F94253BAA5E}" presName="wedge2" presStyleLbl="node1" presStyleIdx="1" presStyleCnt="6" custScaleX="95418" custScaleY="104713" custLinFactNeighborX="1429" custLinFactNeighborY="21"/>
      <dgm:spPr/>
      <dgm:t>
        <a:bodyPr/>
        <a:lstStyle/>
        <a:p>
          <a:endParaRPr lang="en-ZA"/>
        </a:p>
      </dgm:t>
    </dgm:pt>
    <dgm:pt modelId="{A540B5AA-0DED-4107-9DBE-18F935BF93F6}" type="pres">
      <dgm:prSet presAssocID="{7616FEE1-626F-4486-9185-6F94253BAA5E}" presName="wedge2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151E9B6-87A8-4954-87F1-9E0C316C7175}" type="pres">
      <dgm:prSet presAssocID="{7616FEE1-626F-4486-9185-6F94253BAA5E}" presName="wedge3" presStyleLbl="node1" presStyleIdx="2" presStyleCnt="6"/>
      <dgm:spPr/>
      <dgm:t>
        <a:bodyPr/>
        <a:lstStyle/>
        <a:p>
          <a:endParaRPr lang="en-ZA"/>
        </a:p>
      </dgm:t>
    </dgm:pt>
    <dgm:pt modelId="{79182BDB-2D03-44AF-92B8-8508FE0497CB}" type="pres">
      <dgm:prSet presAssocID="{7616FEE1-626F-4486-9185-6F94253BAA5E}" presName="wedge3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B380846-FBF3-41CB-AABB-A2EBE5DFC7D3}" type="pres">
      <dgm:prSet presAssocID="{7616FEE1-626F-4486-9185-6F94253BAA5E}" presName="wedge4" presStyleLbl="node1" presStyleIdx="3" presStyleCnt="6"/>
      <dgm:spPr/>
      <dgm:t>
        <a:bodyPr/>
        <a:lstStyle/>
        <a:p>
          <a:endParaRPr lang="en-ZA"/>
        </a:p>
      </dgm:t>
    </dgm:pt>
    <dgm:pt modelId="{9916E00F-9ED7-4D45-A37F-BAA253A300B8}" type="pres">
      <dgm:prSet presAssocID="{7616FEE1-626F-4486-9185-6F94253BAA5E}" presName="wedge4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0472DD8-6981-48CB-A625-F924AE18BE0B}" type="pres">
      <dgm:prSet presAssocID="{7616FEE1-626F-4486-9185-6F94253BAA5E}" presName="wedge5" presStyleLbl="node1" presStyleIdx="4" presStyleCnt="6" custLinFactNeighborX="433" custLinFactNeighborY="-1388"/>
      <dgm:spPr/>
      <dgm:t>
        <a:bodyPr/>
        <a:lstStyle/>
        <a:p>
          <a:endParaRPr lang="en-ZA"/>
        </a:p>
      </dgm:t>
    </dgm:pt>
    <dgm:pt modelId="{BB39279E-15BA-478F-8D56-D192BCB95640}" type="pres">
      <dgm:prSet presAssocID="{7616FEE1-626F-4486-9185-6F94253BAA5E}" presName="wedge5Tx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B3739A1B-FB48-4C10-B653-1E27106A725D}" type="pres">
      <dgm:prSet presAssocID="{7616FEE1-626F-4486-9185-6F94253BAA5E}" presName="wedge6" presStyleLbl="node1" presStyleIdx="5" presStyleCnt="6"/>
      <dgm:spPr/>
      <dgm:t>
        <a:bodyPr/>
        <a:lstStyle/>
        <a:p>
          <a:endParaRPr lang="en-ZA"/>
        </a:p>
      </dgm:t>
    </dgm:pt>
    <dgm:pt modelId="{69F763AE-0E05-43E9-8252-675DDAC2DAD1}" type="pres">
      <dgm:prSet presAssocID="{7616FEE1-626F-4486-9185-6F94253BAA5E}" presName="wedge6Tx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E89E7D69-CD88-4766-BE32-D4D3E7269432}" srcId="{7616FEE1-626F-4486-9185-6F94253BAA5E}" destId="{34A0CFD5-8963-48C5-AF4C-7FEF8FD9681D}" srcOrd="2" destOrd="0" parTransId="{3F1F4749-A128-4555-A7E0-3B88D42E31DB}" sibTransId="{526C2F77-6A68-4823-BF34-3CD9784A3095}"/>
    <dgm:cxn modelId="{C288F604-026A-46D6-9C22-D09E3914B172}" type="presOf" srcId="{C27F9DC7-2405-461A-9A78-16D6F66ED8AE}" destId="{BB39279E-15BA-478F-8D56-D192BCB95640}" srcOrd="1" destOrd="0" presId="urn:microsoft.com/office/officeart/2005/8/layout/chart3"/>
    <dgm:cxn modelId="{144FDD7C-2959-455F-982E-97A3E89CF02B}" type="presOf" srcId="{E7ED5310-7FF5-46A6-A59F-110C9F13C154}" destId="{9916E00F-9ED7-4D45-A37F-BAA253A300B8}" srcOrd="1" destOrd="0" presId="urn:microsoft.com/office/officeart/2005/8/layout/chart3"/>
    <dgm:cxn modelId="{80618EF3-3DA6-4D6F-AE67-00CD59FCEDC6}" type="presOf" srcId="{01E34B45-8E35-49AF-BAD5-0DC0FDAFDA89}" destId="{7EF74B99-6357-4823-927A-0A6D7C45FC80}" srcOrd="0" destOrd="0" presId="urn:microsoft.com/office/officeart/2005/8/layout/chart3"/>
    <dgm:cxn modelId="{19331E19-260B-46D2-8139-505E7E128ACE}" type="presOf" srcId="{E3327CF3-E70C-4627-8FD2-0577C8141FE9}" destId="{A540B5AA-0DED-4107-9DBE-18F935BF93F6}" srcOrd="1" destOrd="0" presId="urn:microsoft.com/office/officeart/2005/8/layout/chart3"/>
    <dgm:cxn modelId="{FD3732F4-0A7E-4881-8FC2-AA8D64E92207}" type="presOf" srcId="{01E34B45-8E35-49AF-BAD5-0DC0FDAFDA89}" destId="{373E8E4D-1A66-4DAE-BFDF-C28820C35B02}" srcOrd="1" destOrd="0" presId="urn:microsoft.com/office/officeart/2005/8/layout/chart3"/>
    <dgm:cxn modelId="{95EC9531-BAD9-4CB6-885D-5FEBA1A475C2}" type="presOf" srcId="{34A0CFD5-8963-48C5-AF4C-7FEF8FD9681D}" destId="{F151E9B6-87A8-4954-87F1-9E0C316C7175}" srcOrd="0" destOrd="0" presId="urn:microsoft.com/office/officeart/2005/8/layout/chart3"/>
    <dgm:cxn modelId="{A12CC2BC-0F59-40AE-8BC5-89E9CA12BCD3}" srcId="{7616FEE1-626F-4486-9185-6F94253BAA5E}" destId="{E7ED5310-7FF5-46A6-A59F-110C9F13C154}" srcOrd="3" destOrd="0" parTransId="{E573F7E9-7EB7-4E75-8508-276BCB7CD0BA}" sibTransId="{9E993BC3-0950-456B-AB43-173428770D75}"/>
    <dgm:cxn modelId="{7FCDF595-B069-4119-B26A-2D757ADEC9E8}" type="presOf" srcId="{C27F9DC7-2405-461A-9A78-16D6F66ED8AE}" destId="{70472DD8-6981-48CB-A625-F924AE18BE0B}" srcOrd="0" destOrd="0" presId="urn:microsoft.com/office/officeart/2005/8/layout/chart3"/>
    <dgm:cxn modelId="{D72CD336-2EE3-41CC-8C9A-8D6EAA75BBD5}" srcId="{7616FEE1-626F-4486-9185-6F94253BAA5E}" destId="{C27F9DC7-2405-461A-9A78-16D6F66ED8AE}" srcOrd="4" destOrd="0" parTransId="{A7C6270B-AA62-4836-AD86-04DFACDB1D65}" sibTransId="{052EC33B-B92C-4F8F-BAE3-58A36EDDD52B}"/>
    <dgm:cxn modelId="{C3F14FDC-E17A-45EC-93DC-E6FBA23AEBE8}" type="presOf" srcId="{E3327CF3-E70C-4627-8FD2-0577C8141FE9}" destId="{3AB59AFA-9F4D-4E0D-825C-1ACB84E1DC9D}" srcOrd="0" destOrd="0" presId="urn:microsoft.com/office/officeart/2005/8/layout/chart3"/>
    <dgm:cxn modelId="{BF3AFA3B-064C-4746-BAE9-FA838ED2499C}" srcId="{7616FEE1-626F-4486-9185-6F94253BAA5E}" destId="{E17E0FD0-8F68-4821-8876-5DFC52F55FAE}" srcOrd="5" destOrd="0" parTransId="{CD17DD7C-82BE-425B-815B-8E02C74FC851}" sibTransId="{B97F695F-3C71-4F60-B792-C08BEA6C6031}"/>
    <dgm:cxn modelId="{7054AED4-8B23-4636-93CF-AF2D4605BF2B}" type="presOf" srcId="{E17E0FD0-8F68-4821-8876-5DFC52F55FAE}" destId="{B3739A1B-FB48-4C10-B653-1E27106A725D}" srcOrd="0" destOrd="0" presId="urn:microsoft.com/office/officeart/2005/8/layout/chart3"/>
    <dgm:cxn modelId="{15196E41-FDB7-425B-99B1-60EBDED89FA6}" type="presOf" srcId="{7616FEE1-626F-4486-9185-6F94253BAA5E}" destId="{BF3101FE-1024-4796-BCAA-F0D42D22858C}" srcOrd="0" destOrd="0" presId="urn:microsoft.com/office/officeart/2005/8/layout/chart3"/>
    <dgm:cxn modelId="{7B51EA58-DFB7-4486-9DB9-EA7AA5DC8069}" srcId="{7616FEE1-626F-4486-9185-6F94253BAA5E}" destId="{E3327CF3-E70C-4627-8FD2-0577C8141FE9}" srcOrd="1" destOrd="0" parTransId="{8F0EAB8C-B6DE-4949-932D-4EAE10DDCCB4}" sibTransId="{CE655B83-170F-4959-9C64-C455D26F06C0}"/>
    <dgm:cxn modelId="{79B26E54-BE90-420D-BC16-C24A02F4A05B}" type="presOf" srcId="{E7ED5310-7FF5-46A6-A59F-110C9F13C154}" destId="{2B380846-FBF3-41CB-AABB-A2EBE5DFC7D3}" srcOrd="0" destOrd="0" presId="urn:microsoft.com/office/officeart/2005/8/layout/chart3"/>
    <dgm:cxn modelId="{053DD6DC-71E6-4761-84E0-B3B834A094AF}" type="presOf" srcId="{E17E0FD0-8F68-4821-8876-5DFC52F55FAE}" destId="{69F763AE-0E05-43E9-8252-675DDAC2DAD1}" srcOrd="1" destOrd="0" presId="urn:microsoft.com/office/officeart/2005/8/layout/chart3"/>
    <dgm:cxn modelId="{834664BF-1088-4AD4-A484-636802A3A093}" srcId="{7616FEE1-626F-4486-9185-6F94253BAA5E}" destId="{01E34B45-8E35-49AF-BAD5-0DC0FDAFDA89}" srcOrd="0" destOrd="0" parTransId="{927462DA-B0D1-4138-808C-ACE7BE5F2E38}" sibTransId="{B8B2FC69-52DD-47CE-ADE8-85F5ABF2565A}"/>
    <dgm:cxn modelId="{A3E6557B-8535-4D64-8068-12058E487B01}" type="presOf" srcId="{34A0CFD5-8963-48C5-AF4C-7FEF8FD9681D}" destId="{79182BDB-2D03-44AF-92B8-8508FE0497CB}" srcOrd="1" destOrd="0" presId="urn:microsoft.com/office/officeart/2005/8/layout/chart3"/>
    <dgm:cxn modelId="{D45BFE0B-78A1-4C20-8724-2264E7908049}" type="presParOf" srcId="{BF3101FE-1024-4796-BCAA-F0D42D22858C}" destId="{7EF74B99-6357-4823-927A-0A6D7C45FC80}" srcOrd="0" destOrd="0" presId="urn:microsoft.com/office/officeart/2005/8/layout/chart3"/>
    <dgm:cxn modelId="{0AF0A490-2C4D-45A5-9E4D-8E98BB3FE5F3}" type="presParOf" srcId="{BF3101FE-1024-4796-BCAA-F0D42D22858C}" destId="{373E8E4D-1A66-4DAE-BFDF-C28820C35B02}" srcOrd="1" destOrd="0" presId="urn:microsoft.com/office/officeart/2005/8/layout/chart3"/>
    <dgm:cxn modelId="{2C99B21A-A857-441C-94E5-13BB0A517BF1}" type="presParOf" srcId="{BF3101FE-1024-4796-BCAA-F0D42D22858C}" destId="{3AB59AFA-9F4D-4E0D-825C-1ACB84E1DC9D}" srcOrd="2" destOrd="0" presId="urn:microsoft.com/office/officeart/2005/8/layout/chart3"/>
    <dgm:cxn modelId="{A3032022-963A-443D-8459-7C0D8AD606E5}" type="presParOf" srcId="{BF3101FE-1024-4796-BCAA-F0D42D22858C}" destId="{A540B5AA-0DED-4107-9DBE-18F935BF93F6}" srcOrd="3" destOrd="0" presId="urn:microsoft.com/office/officeart/2005/8/layout/chart3"/>
    <dgm:cxn modelId="{346B10BB-C949-4C6D-A30C-E8367B6E08AF}" type="presParOf" srcId="{BF3101FE-1024-4796-BCAA-F0D42D22858C}" destId="{F151E9B6-87A8-4954-87F1-9E0C316C7175}" srcOrd="4" destOrd="0" presId="urn:microsoft.com/office/officeart/2005/8/layout/chart3"/>
    <dgm:cxn modelId="{B7A258F4-DDED-4180-BCFC-A80A16B45D40}" type="presParOf" srcId="{BF3101FE-1024-4796-BCAA-F0D42D22858C}" destId="{79182BDB-2D03-44AF-92B8-8508FE0497CB}" srcOrd="5" destOrd="0" presId="urn:microsoft.com/office/officeart/2005/8/layout/chart3"/>
    <dgm:cxn modelId="{955C8370-4DBC-4899-809C-D354E6EC2579}" type="presParOf" srcId="{BF3101FE-1024-4796-BCAA-F0D42D22858C}" destId="{2B380846-FBF3-41CB-AABB-A2EBE5DFC7D3}" srcOrd="6" destOrd="0" presId="urn:microsoft.com/office/officeart/2005/8/layout/chart3"/>
    <dgm:cxn modelId="{7F3466F6-7AFF-4391-AA6E-E31FEA09F583}" type="presParOf" srcId="{BF3101FE-1024-4796-BCAA-F0D42D22858C}" destId="{9916E00F-9ED7-4D45-A37F-BAA253A300B8}" srcOrd="7" destOrd="0" presId="urn:microsoft.com/office/officeart/2005/8/layout/chart3"/>
    <dgm:cxn modelId="{34877ECE-DEFB-45A5-81DB-06175DF0668D}" type="presParOf" srcId="{BF3101FE-1024-4796-BCAA-F0D42D22858C}" destId="{70472DD8-6981-48CB-A625-F924AE18BE0B}" srcOrd="8" destOrd="0" presId="urn:microsoft.com/office/officeart/2005/8/layout/chart3"/>
    <dgm:cxn modelId="{4B3A4BED-F656-4465-A427-F2BDF67E4BE8}" type="presParOf" srcId="{BF3101FE-1024-4796-BCAA-F0D42D22858C}" destId="{BB39279E-15BA-478F-8D56-D192BCB95640}" srcOrd="9" destOrd="0" presId="urn:microsoft.com/office/officeart/2005/8/layout/chart3"/>
    <dgm:cxn modelId="{17C33AA4-CDB6-4D89-98D6-FE68C07FA0FB}" type="presParOf" srcId="{BF3101FE-1024-4796-BCAA-F0D42D22858C}" destId="{B3739A1B-FB48-4C10-B653-1E27106A725D}" srcOrd="10" destOrd="0" presId="urn:microsoft.com/office/officeart/2005/8/layout/chart3"/>
    <dgm:cxn modelId="{2CEA00FE-C4B8-4D95-997E-F00B70C5EFDE}" type="presParOf" srcId="{BF3101FE-1024-4796-BCAA-F0D42D22858C}" destId="{69F763AE-0E05-43E9-8252-675DDAC2DAD1}" srcOrd="11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0FAB9E-2CD2-4917-8F29-A77FF110905E}">
      <dsp:nvSpPr>
        <dsp:cNvPr id="0" name=""/>
        <dsp:cNvSpPr/>
      </dsp:nvSpPr>
      <dsp:spPr>
        <a:xfrm>
          <a:off x="2399928" y="1671943"/>
          <a:ext cx="2208582" cy="2794291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800" b="1" kern="1200" dirty="0" smtClean="0">
              <a:solidFill>
                <a:schemeClr val="tx1"/>
              </a:solidFill>
            </a:rPr>
            <a:t>DEDAT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3500" b="1" kern="1200" dirty="0" smtClean="0">
              <a:solidFill>
                <a:schemeClr val="tx1"/>
              </a:solidFill>
            </a:rPr>
            <a:t> &amp;</a:t>
          </a:r>
        </a:p>
      </dsp:txBody>
      <dsp:txXfrm>
        <a:off x="2507742" y="1779757"/>
        <a:ext cx="1992954" cy="2578663"/>
      </dsp:txXfrm>
    </dsp:sp>
    <dsp:sp modelId="{B173B56B-B1AD-4B9F-9128-5C02DCDD0048}">
      <dsp:nvSpPr>
        <dsp:cNvPr id="0" name=""/>
        <dsp:cNvSpPr/>
      </dsp:nvSpPr>
      <dsp:spPr>
        <a:xfrm rot="16200000">
          <a:off x="3321591" y="1489315"/>
          <a:ext cx="36525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65257" y="0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5A2763-BDD0-4126-AE7D-B33B9843120F}">
      <dsp:nvSpPr>
        <dsp:cNvPr id="0" name=""/>
        <dsp:cNvSpPr/>
      </dsp:nvSpPr>
      <dsp:spPr>
        <a:xfrm>
          <a:off x="2988821" y="275888"/>
          <a:ext cx="1030797" cy="1030797"/>
        </a:xfrm>
        <a:prstGeom prst="roundRect">
          <a:avLst/>
        </a:prstGeom>
        <a:solidFill>
          <a:schemeClr val="accent5">
            <a:hueOff val="-1097141"/>
            <a:satOff val="12841"/>
            <a:lumOff val="7451"/>
            <a:alphaOff val="0"/>
          </a:schemeClr>
        </a:solidFill>
        <a:ln w="5715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300" b="1" kern="1200" dirty="0" smtClean="0">
              <a:solidFill>
                <a:schemeClr val="tx1"/>
              </a:solidFill>
            </a:rPr>
            <a:t>Host Company</a:t>
          </a:r>
          <a:endParaRPr lang="en-ZA" sz="1300" b="1" kern="1200" dirty="0">
            <a:solidFill>
              <a:schemeClr val="tx1"/>
            </a:solidFill>
          </a:endParaRPr>
        </a:p>
      </dsp:txBody>
      <dsp:txXfrm>
        <a:off x="3039140" y="326207"/>
        <a:ext cx="930159" cy="930159"/>
      </dsp:txXfrm>
    </dsp:sp>
    <dsp:sp modelId="{3ECA9DAA-8F68-4F43-ADE0-8FA5BB07F37D}">
      <dsp:nvSpPr>
        <dsp:cNvPr id="0" name=""/>
        <dsp:cNvSpPr/>
      </dsp:nvSpPr>
      <dsp:spPr>
        <a:xfrm rot="1906398">
          <a:off x="4570835" y="3885447"/>
          <a:ext cx="50281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02813" y="0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03F425-D94D-46C8-B1AE-C1D257E4B6EE}">
      <dsp:nvSpPr>
        <dsp:cNvPr id="0" name=""/>
        <dsp:cNvSpPr/>
      </dsp:nvSpPr>
      <dsp:spPr>
        <a:xfrm>
          <a:off x="5035972" y="3821657"/>
          <a:ext cx="1030797" cy="1030797"/>
        </a:xfrm>
        <a:prstGeom prst="roundRect">
          <a:avLst/>
        </a:prstGeom>
        <a:solidFill>
          <a:schemeClr val="accent5">
            <a:hueOff val="-2194283"/>
            <a:satOff val="25682"/>
            <a:lumOff val="14902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b="1" kern="1200" dirty="0" smtClean="0">
              <a:solidFill>
                <a:schemeClr val="tx1"/>
              </a:solidFill>
            </a:rPr>
            <a:t>Learner</a:t>
          </a:r>
          <a:endParaRPr lang="en-ZA" sz="1800" b="1" kern="1200" dirty="0">
            <a:solidFill>
              <a:schemeClr val="tx1"/>
            </a:solidFill>
          </a:endParaRPr>
        </a:p>
      </dsp:txBody>
      <dsp:txXfrm>
        <a:off x="5086291" y="3871976"/>
        <a:ext cx="930159" cy="930159"/>
      </dsp:txXfrm>
    </dsp:sp>
    <dsp:sp modelId="{12A56FE2-6AF9-485D-842A-0C041C96BCB5}">
      <dsp:nvSpPr>
        <dsp:cNvPr id="0" name=""/>
        <dsp:cNvSpPr/>
      </dsp:nvSpPr>
      <dsp:spPr>
        <a:xfrm rot="8893602">
          <a:off x="1934791" y="3885447"/>
          <a:ext cx="50281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02813" y="0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2AF6C2-D840-46EF-9F60-F633E8514FB7}">
      <dsp:nvSpPr>
        <dsp:cNvPr id="0" name=""/>
        <dsp:cNvSpPr/>
      </dsp:nvSpPr>
      <dsp:spPr>
        <a:xfrm>
          <a:off x="941670" y="3821657"/>
          <a:ext cx="1030797" cy="1030797"/>
        </a:xfrm>
        <a:prstGeom prst="roundRect">
          <a:avLst/>
        </a:prstGeom>
        <a:solidFill>
          <a:schemeClr val="accent5">
            <a:hueOff val="-3291424"/>
            <a:satOff val="38523"/>
            <a:lumOff val="22353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 smtClean="0">
              <a:solidFill>
                <a:schemeClr val="tx1"/>
              </a:solidFill>
            </a:rPr>
            <a:t>Sources of Supply (company, TVET system, community)</a:t>
          </a:r>
          <a:endParaRPr lang="en-ZA" sz="1100" b="1" kern="1200" dirty="0">
            <a:solidFill>
              <a:schemeClr val="tx1"/>
            </a:solidFill>
          </a:endParaRPr>
        </a:p>
      </dsp:txBody>
      <dsp:txXfrm>
        <a:off x="991989" y="3871976"/>
        <a:ext cx="930159" cy="9301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F74B99-6357-4823-927A-0A6D7C45FC80}">
      <dsp:nvSpPr>
        <dsp:cNvPr id="0" name=""/>
        <dsp:cNvSpPr/>
      </dsp:nvSpPr>
      <dsp:spPr>
        <a:xfrm>
          <a:off x="659116" y="147908"/>
          <a:ext cx="3192382" cy="3192382"/>
        </a:xfrm>
        <a:prstGeom prst="pie">
          <a:avLst>
            <a:gd name="adj1" fmla="val 16200000"/>
            <a:gd name="adj2" fmla="val 198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 dirty="0" smtClean="0"/>
            <a:t>Tourism</a:t>
          </a:r>
          <a:endParaRPr lang="en-ZA" sz="1400" kern="1200" dirty="0"/>
        </a:p>
      </dsp:txBody>
      <dsp:txXfrm>
        <a:off x="2289511" y="489949"/>
        <a:ext cx="931111" cy="684081"/>
      </dsp:txXfrm>
    </dsp:sp>
    <dsp:sp modelId="{3AB59AFA-9F4D-4E0D-825C-1ACB84E1DC9D}">
      <dsp:nvSpPr>
        <dsp:cNvPr id="0" name=""/>
        <dsp:cNvSpPr/>
      </dsp:nvSpPr>
      <dsp:spPr>
        <a:xfrm>
          <a:off x="653555" y="274143"/>
          <a:ext cx="3046107" cy="3342839"/>
        </a:xfrm>
        <a:prstGeom prst="pie">
          <a:avLst>
            <a:gd name="adj1" fmla="val 19800000"/>
            <a:gd name="adj2" fmla="val 18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 dirty="0" smtClean="0"/>
            <a:t>Oil &amp; Gas</a:t>
          </a:r>
        </a:p>
      </dsp:txBody>
      <dsp:txXfrm>
        <a:off x="2738688" y="1607300"/>
        <a:ext cx="921084" cy="676526"/>
      </dsp:txXfrm>
    </dsp:sp>
    <dsp:sp modelId="{F151E9B6-87A8-4954-87F1-9E0C316C7175}">
      <dsp:nvSpPr>
        <dsp:cNvPr id="0" name=""/>
        <dsp:cNvSpPr/>
      </dsp:nvSpPr>
      <dsp:spPr>
        <a:xfrm>
          <a:off x="534799" y="348702"/>
          <a:ext cx="3192382" cy="3192382"/>
        </a:xfrm>
        <a:prstGeom prst="pie">
          <a:avLst>
            <a:gd name="adj1" fmla="val 1800000"/>
            <a:gd name="adj2" fmla="val 540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 dirty="0" smtClean="0"/>
            <a:t>BPO</a:t>
          </a:r>
        </a:p>
      </dsp:txBody>
      <dsp:txXfrm>
        <a:off x="2165194" y="2514961"/>
        <a:ext cx="931111" cy="684081"/>
      </dsp:txXfrm>
    </dsp:sp>
    <dsp:sp modelId="{2B380846-FBF3-41CB-AABB-A2EBE5DFC7D3}">
      <dsp:nvSpPr>
        <dsp:cNvPr id="0" name=""/>
        <dsp:cNvSpPr/>
      </dsp:nvSpPr>
      <dsp:spPr>
        <a:xfrm>
          <a:off x="534799" y="348702"/>
          <a:ext cx="3192382" cy="3192382"/>
        </a:xfrm>
        <a:prstGeom prst="pie">
          <a:avLst>
            <a:gd name="adj1" fmla="val 5400000"/>
            <a:gd name="adj2" fmla="val 900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 dirty="0" smtClean="0"/>
            <a:t>Film</a:t>
          </a:r>
        </a:p>
      </dsp:txBody>
      <dsp:txXfrm>
        <a:off x="1165674" y="2514961"/>
        <a:ext cx="931111" cy="684081"/>
      </dsp:txXfrm>
    </dsp:sp>
    <dsp:sp modelId="{70472DD8-6981-48CB-A625-F924AE18BE0B}">
      <dsp:nvSpPr>
        <dsp:cNvPr id="0" name=""/>
        <dsp:cNvSpPr/>
      </dsp:nvSpPr>
      <dsp:spPr>
        <a:xfrm>
          <a:off x="548622" y="304391"/>
          <a:ext cx="3192382" cy="3192382"/>
        </a:xfrm>
        <a:prstGeom prst="pie">
          <a:avLst>
            <a:gd name="adj1" fmla="val 9000000"/>
            <a:gd name="adj2" fmla="val 1260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000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350" b="1" kern="1200" dirty="0" smtClean="0"/>
            <a:t>Agri- processing</a:t>
          </a:r>
        </a:p>
      </dsp:txBody>
      <dsp:txXfrm>
        <a:off x="598028" y="1577544"/>
        <a:ext cx="965315" cy="646077"/>
      </dsp:txXfrm>
    </dsp:sp>
    <dsp:sp modelId="{B3739A1B-FB48-4C10-B653-1E27106A725D}">
      <dsp:nvSpPr>
        <dsp:cNvPr id="0" name=""/>
        <dsp:cNvSpPr/>
      </dsp:nvSpPr>
      <dsp:spPr>
        <a:xfrm>
          <a:off x="534799" y="348702"/>
          <a:ext cx="3192382" cy="3192382"/>
        </a:xfrm>
        <a:prstGeom prst="pie">
          <a:avLst>
            <a:gd name="adj1" fmla="val 12600000"/>
            <a:gd name="adj2" fmla="val 16200000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 dirty="0" smtClean="0"/>
            <a:t>Renewables</a:t>
          </a:r>
        </a:p>
      </dsp:txBody>
      <dsp:txXfrm>
        <a:off x="1165674" y="690742"/>
        <a:ext cx="931111" cy="6840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076</cdr:x>
      <cdr:y>0.44732</cdr:y>
    </cdr:from>
    <cdr:to>
      <cdr:x>0.57685</cdr:x>
      <cdr:y>0.5283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464496" y="2781260"/>
          <a:ext cx="1656185" cy="5040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ZA" sz="28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artners</a:t>
          </a:r>
          <a:endParaRPr lang="en-ZA" sz="2800" b="1" i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3633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6" y="1"/>
            <a:ext cx="2945659" cy="493633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31/05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377318"/>
            <a:ext cx="2945659" cy="493633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6" y="9377318"/>
            <a:ext cx="2945659" cy="493633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3633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9" cy="493633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16-05-3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7"/>
            <a:ext cx="5438140" cy="4442699"/>
          </a:xfrm>
          <a:prstGeom prst="rect">
            <a:avLst/>
          </a:prstGeom>
        </p:spPr>
        <p:txBody>
          <a:bodyPr vert="horz" lIns="91433" tIns="45717" rIns="91433" bIns="4571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77318"/>
            <a:ext cx="2945659" cy="493633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377318"/>
            <a:ext cx="2945659" cy="493633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(4) An overall slide showing the medium term outcomes</a:t>
            </a:r>
            <a:r>
              <a:rPr lang="en-ZA" baseline="0" dirty="0" smtClean="0"/>
              <a:t> of this Game Changer. In the case of energy a medium term outcome was developed for each lever but for others it might not be similar. Rather ensure that these blocks captures the question of ‘how change will happen’. </a:t>
            </a:r>
          </a:p>
          <a:p>
            <a:endParaRPr lang="en-ZA" baseline="0" dirty="0" smtClean="0"/>
          </a:p>
          <a:p>
            <a:r>
              <a:rPr lang="en-ZA" baseline="0" dirty="0" smtClean="0"/>
              <a:t>The red block indicates the current situation. The yellow block indicates where we will be in 2019.</a:t>
            </a:r>
          </a:p>
          <a:p>
            <a:endParaRPr lang="en-ZA" baseline="0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5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022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39AD1B-C44F-4823-9BA9-E62202BE780F}" type="slidenum">
              <a:rPr lang="en-ZA" smtClean="0">
                <a:solidFill>
                  <a:prstClr val="black"/>
                </a:solidFill>
              </a:rPr>
              <a:pPr/>
              <a:t>6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>
                <a:solidFill>
                  <a:prstClr val="black"/>
                </a:solidFill>
              </a:rPr>
              <a:t>1</a:t>
            </a:r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287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2.xml"/><Relationship Id="rId1" Type="http://schemas.openxmlformats.org/officeDocument/2006/relationships/tags" Target="../tags/tag20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4.xml"/><Relationship Id="rId1" Type="http://schemas.openxmlformats.org/officeDocument/2006/relationships/tags" Target="../tags/tag20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6.xml"/><Relationship Id="rId1" Type="http://schemas.openxmlformats.org/officeDocument/2006/relationships/tags" Target="../tags/tag20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8.xml"/><Relationship Id="rId1" Type="http://schemas.openxmlformats.org/officeDocument/2006/relationships/tags" Target="../tags/tag20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0.xml"/><Relationship Id="rId1" Type="http://schemas.openxmlformats.org/officeDocument/2006/relationships/tags" Target="../tags/tag20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2.xml"/><Relationship Id="rId1" Type="http://schemas.openxmlformats.org/officeDocument/2006/relationships/tags" Target="../tags/tag21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4.xml"/><Relationship Id="rId1" Type="http://schemas.openxmlformats.org/officeDocument/2006/relationships/tags" Target="../tags/tag21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6.xml"/><Relationship Id="rId1" Type="http://schemas.openxmlformats.org/officeDocument/2006/relationships/tags" Target="../tags/tag21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8.xml"/><Relationship Id="rId1" Type="http://schemas.openxmlformats.org/officeDocument/2006/relationships/tags" Target="../tags/tag21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0.xml"/><Relationship Id="rId1" Type="http://schemas.openxmlformats.org/officeDocument/2006/relationships/tags" Target="../tags/tag21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2.xml"/><Relationship Id="rId1" Type="http://schemas.openxmlformats.org/officeDocument/2006/relationships/tags" Target="../tags/tag22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4.xml"/><Relationship Id="rId1" Type="http://schemas.openxmlformats.org/officeDocument/2006/relationships/tags" Target="../tags/tag22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6.xml"/><Relationship Id="rId1" Type="http://schemas.openxmlformats.org/officeDocument/2006/relationships/tags" Target="../tags/tag22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8.xml"/><Relationship Id="rId1" Type="http://schemas.openxmlformats.org/officeDocument/2006/relationships/tags" Target="../tags/tag22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0.xml"/><Relationship Id="rId1" Type="http://schemas.openxmlformats.org/officeDocument/2006/relationships/tags" Target="../tags/tag229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2.xml"/><Relationship Id="rId1" Type="http://schemas.openxmlformats.org/officeDocument/2006/relationships/tags" Target="../tags/tag23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4.xml"/><Relationship Id="rId1" Type="http://schemas.openxmlformats.org/officeDocument/2006/relationships/tags" Target="../tags/tag23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6.xml"/><Relationship Id="rId1" Type="http://schemas.openxmlformats.org/officeDocument/2006/relationships/tags" Target="../tags/tag23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8.xml"/><Relationship Id="rId1" Type="http://schemas.openxmlformats.org/officeDocument/2006/relationships/tags" Target="../tags/tag23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0.xml"/><Relationship Id="rId1" Type="http://schemas.openxmlformats.org/officeDocument/2006/relationships/tags" Target="../tags/tag239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1.xml"/><Relationship Id="rId4" Type="http://schemas.openxmlformats.org/officeDocument/2006/relationships/image" Target="../media/image9.pn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0.xml"/><Relationship Id="rId1" Type="http://schemas.openxmlformats.org/officeDocument/2006/relationships/tags" Target="../tags/tag249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2.xml"/><Relationship Id="rId1" Type="http://schemas.openxmlformats.org/officeDocument/2006/relationships/tags" Target="../tags/tag25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4.xml"/><Relationship Id="rId1" Type="http://schemas.openxmlformats.org/officeDocument/2006/relationships/tags" Target="../tags/tag25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6.xml"/><Relationship Id="rId1" Type="http://schemas.openxmlformats.org/officeDocument/2006/relationships/tags" Target="../tags/tag25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8.xml"/><Relationship Id="rId1" Type="http://schemas.openxmlformats.org/officeDocument/2006/relationships/tags" Target="../tags/tag25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0.xml"/><Relationship Id="rId1" Type="http://schemas.openxmlformats.org/officeDocument/2006/relationships/tags" Target="../tags/tag25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2.xml"/><Relationship Id="rId1" Type="http://schemas.openxmlformats.org/officeDocument/2006/relationships/tags" Target="../tags/tag261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4.xml"/><Relationship Id="rId1" Type="http://schemas.openxmlformats.org/officeDocument/2006/relationships/tags" Target="../tags/tag26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6.xml"/><Relationship Id="rId1" Type="http://schemas.openxmlformats.org/officeDocument/2006/relationships/tags" Target="../tags/tag26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8.xml"/><Relationship Id="rId1" Type="http://schemas.openxmlformats.org/officeDocument/2006/relationships/tags" Target="../tags/tag26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0.xml"/><Relationship Id="rId1" Type="http://schemas.openxmlformats.org/officeDocument/2006/relationships/tags" Target="../tags/tag26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2.xml"/><Relationship Id="rId1" Type="http://schemas.openxmlformats.org/officeDocument/2006/relationships/tags" Target="../tags/tag27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4.xml"/><Relationship Id="rId1" Type="http://schemas.openxmlformats.org/officeDocument/2006/relationships/tags" Target="../tags/tag27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6.xml"/><Relationship Id="rId1" Type="http://schemas.openxmlformats.org/officeDocument/2006/relationships/tags" Target="../tags/tag27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8.xml"/><Relationship Id="rId1" Type="http://schemas.openxmlformats.org/officeDocument/2006/relationships/tags" Target="../tags/tag277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0.xml"/><Relationship Id="rId1" Type="http://schemas.openxmlformats.org/officeDocument/2006/relationships/tags" Target="../tags/tag279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2.xml"/><Relationship Id="rId1" Type="http://schemas.openxmlformats.org/officeDocument/2006/relationships/tags" Target="../tags/tag28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4.xml"/><Relationship Id="rId1" Type="http://schemas.openxmlformats.org/officeDocument/2006/relationships/tags" Target="../tags/tag28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6.xml"/><Relationship Id="rId1" Type="http://schemas.openxmlformats.org/officeDocument/2006/relationships/tags" Target="../tags/tag28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8.xml"/><Relationship Id="rId1" Type="http://schemas.openxmlformats.org/officeDocument/2006/relationships/tags" Target="../tags/tag287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9.xml"/><Relationship Id="rId4" Type="http://schemas.openxmlformats.org/officeDocument/2006/relationships/image" Target="../media/image9.png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4.xml"/><Relationship Id="rId1" Type="http://schemas.openxmlformats.org/officeDocument/2006/relationships/tags" Target="../tags/tag14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5.xml"/><Relationship Id="rId4" Type="http://schemas.openxmlformats.org/officeDocument/2006/relationships/image" Target="../media/image9.pn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8.xml"/><Relationship Id="rId1" Type="http://schemas.openxmlformats.org/officeDocument/2006/relationships/tags" Target="../tags/tag18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0.xml"/><Relationship Id="rId1" Type="http://schemas.openxmlformats.org/officeDocument/2006/relationships/tags" Target="../tags/tag18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2.xml"/><Relationship Id="rId1" Type="http://schemas.openxmlformats.org/officeDocument/2006/relationships/tags" Target="../tags/tag19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3.xml"/><Relationship Id="rId4" Type="http://schemas.openxmlformats.org/officeDocument/2006/relationships/image" Target="../media/image9.pn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63855" y="367410"/>
            <a:ext cx="8751548" cy="29832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>
              <a:lnSpc>
                <a:spcPct val="100000"/>
              </a:lnSpc>
              <a:spcBef>
                <a:spcPts val="24"/>
              </a:spcBef>
              <a:spcAft>
                <a:spcPts val="0"/>
              </a:spcAft>
              <a:buNone/>
              <a:defRPr sz="1939" b="1" i="0" baseline="0">
                <a:solidFill>
                  <a:srgbClr val="4B4B4B"/>
                </a:solidFill>
                <a:latin typeface="Tahoma" pitchFamily="34" charset="0"/>
              </a:defRPr>
            </a:lvl1pPr>
          </a:lstStyle>
          <a:p>
            <a:pPr lvl="0"/>
            <a:r>
              <a:rPr lang="en-US" dirty="0" smtClean="0"/>
              <a:t>Click to add heading</a:t>
            </a:r>
            <a:endParaRPr lang="en-US" dirty="0"/>
          </a:p>
        </p:txBody>
      </p:sp>
      <p:sp>
        <p:nvSpPr>
          <p:cNvPr id="5" name="Rectangle 280"/>
          <p:cNvSpPr txBox="1">
            <a:spLocks noChangeArrowheads="1"/>
          </p:cNvSpPr>
          <p:nvPr userDrawn="1"/>
        </p:nvSpPr>
        <p:spPr bwMode="auto">
          <a:xfrm>
            <a:off x="8803158" y="6564952"/>
            <a:ext cx="1992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ECF1D000-883C-44DB-93B0-94C62FBCA262}" type="slidenum">
              <a:rPr lang="en-US" sz="1020" smtClean="0">
                <a:solidFill>
                  <a:srgbClr val="FFFFFF"/>
                </a:solidFill>
                <a:latin typeface="Tahoma" pitchFamily="34" charset="0"/>
              </a:rPr>
              <a:pPr/>
              <a:t>‹#›</a:t>
            </a:fld>
            <a:r>
              <a:rPr lang="en-US" sz="1020" dirty="0" smtClean="0">
                <a:solidFill>
                  <a:srgbClr val="FFFFFF"/>
                </a:solidFill>
                <a:latin typeface="Tahoma" pitchFamily="34" charset="0"/>
              </a:rPr>
              <a:t> </a:t>
            </a:r>
            <a:endParaRPr lang="en-US" sz="1020" dirty="0">
              <a:solidFill>
                <a:srgbClr val="FFFFFF"/>
              </a:solidFill>
              <a:latin typeface="Tahoma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63852" y="1543487"/>
            <a:ext cx="4258312" cy="12561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32" baseline="0">
                <a:latin typeface="Tahoma" pitchFamily="34" charset="0"/>
              </a:defRPr>
            </a:lvl1pPr>
            <a:lvl2pPr marL="181371" indent="-1813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1632" baseline="0">
                <a:latin typeface="Tahoma" pitchFamily="34" charset="0"/>
              </a:defRPr>
            </a:lvl2pPr>
            <a:lvl3pPr marL="472860" indent="-2914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1632" baseline="0">
                <a:latin typeface="Tahoma" pitchFamily="34" charset="0"/>
              </a:defRPr>
            </a:lvl3pPr>
            <a:lvl4pPr marL="639657" indent="-16679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1632" baseline="0">
                <a:latin typeface="Tahoma" pitchFamily="34" charset="0"/>
              </a:defRPr>
            </a:lvl4pPr>
            <a:lvl5pPr marL="751394" indent="-1117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1632" baseline="0">
                <a:latin typeface="Tahoma" pitchFamily="34" charset="0"/>
              </a:defRPr>
            </a:lvl5pPr>
          </a:lstStyle>
          <a:p>
            <a:pPr lvl="0"/>
            <a:r>
              <a:rPr lang="en-US" dirty="0" smtClean="0"/>
              <a:t>Green bulleted text</a:t>
            </a:r>
          </a:p>
          <a:p>
            <a:pPr lvl="1"/>
            <a:r>
              <a:rPr lang="en-US" dirty="0" smtClean="0"/>
              <a:t>Text</a:t>
            </a:r>
          </a:p>
          <a:p>
            <a:pPr lvl="2"/>
            <a:r>
              <a:rPr lang="en-US" dirty="0" smtClean="0"/>
              <a:t>Text</a:t>
            </a:r>
          </a:p>
          <a:p>
            <a:pPr lvl="3"/>
            <a:r>
              <a:rPr lang="en-US" dirty="0" smtClean="0"/>
              <a:t>Text</a:t>
            </a:r>
          </a:p>
          <a:p>
            <a:pPr lvl="4"/>
            <a:r>
              <a:rPr lang="en-US" dirty="0" smtClean="0"/>
              <a:t>Tex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57087" y="1543487"/>
            <a:ext cx="4258312" cy="12561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32" baseline="0">
                <a:latin typeface="Tahoma" pitchFamily="34" charset="0"/>
              </a:defRPr>
            </a:lvl1pPr>
            <a:lvl2pPr marL="181371" indent="-18137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Tahoma" pitchFamily="34" charset="0"/>
              <a:buChar char="▪"/>
              <a:defRPr sz="1632" baseline="0">
                <a:latin typeface="Tahoma" pitchFamily="34" charset="0"/>
              </a:defRPr>
            </a:lvl2pPr>
            <a:lvl3pPr marL="472860" indent="-2914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–"/>
              <a:defRPr sz="1632" baseline="0">
                <a:latin typeface="Tahoma" pitchFamily="34" charset="0"/>
              </a:defRPr>
            </a:lvl3pPr>
            <a:lvl4pPr marL="639657" indent="-16679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▫"/>
              <a:defRPr sz="1632" baseline="0">
                <a:latin typeface="Tahoma" pitchFamily="34" charset="0"/>
              </a:defRPr>
            </a:lvl4pPr>
            <a:lvl5pPr marL="751394" indent="-1117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 typeface="Tahoma" pitchFamily="34" charset="0"/>
              <a:buChar char="-"/>
              <a:defRPr sz="1632" baseline="0">
                <a:latin typeface="Tahoma" pitchFamily="34" charset="0"/>
              </a:defRPr>
            </a:lvl5pPr>
          </a:lstStyle>
          <a:p>
            <a:pPr lvl="0"/>
            <a:r>
              <a:rPr lang="en-US" dirty="0" smtClean="0"/>
              <a:t>Automatic bulleted text</a:t>
            </a:r>
          </a:p>
          <a:p>
            <a:pPr lvl="1"/>
            <a:r>
              <a:rPr lang="en-US" dirty="0" smtClean="0"/>
              <a:t>Text</a:t>
            </a:r>
          </a:p>
          <a:p>
            <a:pPr lvl="2"/>
            <a:r>
              <a:rPr lang="en-US" dirty="0" smtClean="0"/>
              <a:t>Text</a:t>
            </a:r>
          </a:p>
          <a:p>
            <a:pPr lvl="3"/>
            <a:r>
              <a:rPr lang="en-US" dirty="0" smtClean="0"/>
              <a:t>Text</a:t>
            </a:r>
          </a:p>
          <a:p>
            <a:pPr lvl="4"/>
            <a:r>
              <a:rPr lang="en-US" dirty="0" smtClean="0"/>
              <a:t>Text</a:t>
            </a:r>
          </a:p>
        </p:txBody>
      </p:sp>
      <p:sp>
        <p:nvSpPr>
          <p:cNvPr id="11" name="Text Box 7"/>
          <p:cNvSpPr txBox="1">
            <a:spLocks noChangeArrowheads="1"/>
          </p:cNvSpPr>
          <p:nvPr userDrawn="1"/>
        </p:nvSpPr>
        <p:spPr bwMode="auto">
          <a:xfrm>
            <a:off x="163855" y="6564953"/>
            <a:ext cx="4197007" cy="16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SimSun" pitchFamily="2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SimSun" pitchFamily="2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SimSun" pitchFamily="2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SimSun" pitchFamily="2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SimSun" pitchFamily="2" charset="-122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SimSun" pitchFamily="2" charset="-122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SimSun" pitchFamily="2" charset="-122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SimSun" pitchFamily="2" charset="-122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SimSun" pitchFamily="2" charset="-122"/>
              </a:defRPr>
            </a:lvl9pPr>
          </a:lstStyle>
          <a:p>
            <a:pPr>
              <a:lnSpc>
                <a:spcPct val="101000"/>
              </a:lnSpc>
            </a:pPr>
            <a:r>
              <a:rPr lang="en-US" sz="1020" dirty="0" smtClean="0">
                <a:solidFill>
                  <a:srgbClr val="FFFFFF"/>
                </a:solidFill>
                <a:latin typeface="Tahoma" pitchFamily="32" charset="0"/>
                <a:cs typeface="Tahoma" pitchFamily="32" charset="0"/>
              </a:rPr>
              <a:t>©</a:t>
            </a:r>
            <a:r>
              <a:rPr lang="en-US" sz="1020" dirty="0" smtClean="0">
                <a:solidFill>
                  <a:srgbClr val="FFFFFF"/>
                </a:solidFill>
                <a:latin typeface="Tahoma" pitchFamily="32" charset="0"/>
              </a:rPr>
              <a:t>2015 U.S. Education Delivery Institute</a:t>
            </a:r>
            <a:endParaRPr lang="en-US" sz="1020" dirty="0">
              <a:solidFill>
                <a:srgbClr val="FFFFFF"/>
              </a:solidFill>
              <a:latin typeface="Tahoma" pitchFamily="32" charset="0"/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160742" y="1146692"/>
            <a:ext cx="8754660" cy="2512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32" baseline="0">
                <a:latin typeface="Tahoma" pitchFamily="34" charset="0"/>
              </a:defRPr>
            </a:lvl1pPr>
            <a:lvl2pPr marL="181371" indent="-181371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1632" baseline="0">
                <a:latin typeface="Tahoma" pitchFamily="34" charset="0"/>
              </a:defRPr>
            </a:lvl2pPr>
            <a:lvl3pPr marL="472860" indent="-291490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1632" baseline="0">
                <a:latin typeface="Tahoma" pitchFamily="34" charset="0"/>
              </a:defRPr>
            </a:lvl3pPr>
            <a:lvl4pPr marL="639657" indent="-166797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1632" baseline="0">
                <a:latin typeface="Tahoma" pitchFamily="34" charset="0"/>
              </a:defRPr>
            </a:lvl4pPr>
            <a:lvl5pPr marL="751394" indent="-111738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1632" baseline="0">
                <a:latin typeface="Tahoma" pitchFamily="34" charset="0"/>
              </a:defRPr>
            </a:lvl5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96840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47343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0983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3690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79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0769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305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300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4595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0473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688913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966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0641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4212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2756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285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3219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742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6135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8567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5228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372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451070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124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10 Nov 2010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8F86"/>
                </a:solidFill>
              </a:rPr>
              <a:t>Artisan Development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F94032-AF3F-446C-99A9-4D7094B0CF70}" type="slidenum">
              <a:rPr lang="en-US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30741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1882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1374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3913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881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0023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893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036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1379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4246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582198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3786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8416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3841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0912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2709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4895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62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4164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9195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0808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101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004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1173771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920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10 Nov 2010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8F86"/>
                </a:solidFill>
              </a:rPr>
              <a:t>Artisan Development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F94032-AF3F-446C-99A9-4D7094B0CF70}" type="slidenum">
              <a:rPr lang="en-US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3662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Tel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Fax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 smtClean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  <a:endParaRPr lang="en-US" sz="3200" b="0" cap="none" baseline="0" dirty="0">
              <a:solidFill>
                <a:prstClr val="white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0 Nov 2010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rtisan Development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F94032-AF3F-446C-99A9-4D7094B0CF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5275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5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5" y="1266825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-heading</a:t>
            </a:r>
          </a:p>
          <a:p>
            <a:pPr lvl="1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113715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8693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1049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8080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934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6943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1960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844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5715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3530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4201808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7290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7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2945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6094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9732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0866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2373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2608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6063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517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2545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422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310914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83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41406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2446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4360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848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8452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5545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436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447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17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332016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8612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8862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9572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7255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9669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9083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990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4367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6697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7982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533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0440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721100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387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47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0224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0229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236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7066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0392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011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8541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727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658408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3886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3973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9387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968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7671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441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081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0798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8696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9703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8456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3111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val="2322409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43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504" y="234878"/>
            <a:ext cx="8794113" cy="298033"/>
          </a:xfrm>
          <a:prstGeom prst="rect">
            <a:avLst/>
          </a:prstGeom>
        </p:spPr>
        <p:txBody>
          <a:bodyPr lIns="93156" tIns="46579" rIns="93156" bIns="46579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976653" y="6606955"/>
            <a:ext cx="2177066" cy="241341"/>
          </a:xfrm>
          <a:prstGeom prst="rect">
            <a:avLst/>
          </a:prstGeom>
          <a:ln/>
        </p:spPr>
        <p:txBody>
          <a:bodyPr lIns="93156" tIns="46579" rIns="93156" bIns="46579"/>
          <a:lstStyle>
            <a:lvl1pPr>
              <a:defRPr/>
            </a:lvl1pPr>
          </a:lstStyle>
          <a:p>
            <a:pPr>
              <a:defRPr/>
            </a:pPr>
            <a:fld id="{813C9F01-57DB-4FE0-B1F9-B373476DFED9}" type="slidenum">
              <a:rPr lang="en-US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763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6.xml"/><Relationship Id="rId38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5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Relationship Id="rId35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theme" Target="../theme/theme2.xml"/><Relationship Id="rId33" Type="http://schemas.openxmlformats.org/officeDocument/2006/relationships/tags" Target="../tags/tag56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ags" Target="../tags/tag5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tags" Target="../tags/tag55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51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ags" Target="../tags/tag5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theme" Target="../theme/theme3.xml"/><Relationship Id="rId33" Type="http://schemas.openxmlformats.org/officeDocument/2006/relationships/tags" Target="../tags/tag104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tags" Target="../tags/tag10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tags" Target="../tags/tag103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tags" Target="../tags/tag99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tags" Target="../tags/tag102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tags" Target="../tags/tag98.xml"/><Relationship Id="rId30" Type="http://schemas.openxmlformats.org/officeDocument/2006/relationships/tags" Target="../tags/tag101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image" Target="../media/image3.png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tags" Target="../tags/tag151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tags" Target="../tags/tag150.xml"/><Relationship Id="rId38" Type="http://schemas.openxmlformats.org/officeDocument/2006/relationships/image" Target="../media/image2.jpeg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tags" Target="../tags/tag14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tags" Target="../tags/tag149.xml"/><Relationship Id="rId37" Type="http://schemas.openxmlformats.org/officeDocument/2006/relationships/image" Target="../media/image1.emf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vmlDrawing" Target="../drawings/vmlDrawing4.v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tags" Target="../tags/tag14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theme" Target="../theme/theme4.xml"/><Relationship Id="rId30" Type="http://schemas.openxmlformats.org/officeDocument/2006/relationships/tags" Target="../tags/tag147.xml"/><Relationship Id="rId35" Type="http://schemas.openxmlformats.org/officeDocument/2006/relationships/tags" Target="../tags/tag1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theme" Target="../theme/theme5.xml"/><Relationship Id="rId39" Type="http://schemas.openxmlformats.org/officeDocument/2006/relationships/image" Target="../media/image4.png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34" Type="http://schemas.openxmlformats.org/officeDocument/2006/relationships/tags" Target="../tags/tag200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tags" Target="../tags/tag199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tags" Target="../tags/tag195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tags" Target="../tags/tag198.x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tags" Target="../tags/tag19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tags" Target="../tags/tag197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vmlDrawing" Target="../drawings/vmlDrawing5.vml"/><Relationship Id="rId30" Type="http://schemas.openxmlformats.org/officeDocument/2006/relationships/tags" Target="../tags/tag196.xml"/><Relationship Id="rId35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theme" Target="../theme/theme6.xml"/><Relationship Id="rId39" Type="http://schemas.openxmlformats.org/officeDocument/2006/relationships/image" Target="../media/image4.png"/><Relationship Id="rId3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46.xml"/><Relationship Id="rId34" Type="http://schemas.openxmlformats.org/officeDocument/2006/relationships/tags" Target="../tags/tag24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tags" Target="../tags/tag247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tags" Target="../tags/tag243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tags" Target="../tags/tag246.x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tags" Target="../tags/tag242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tags" Target="../tags/tag24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vmlDrawing" Target="../drawings/vmlDrawing6.vml"/><Relationship Id="rId30" Type="http://schemas.openxmlformats.org/officeDocument/2006/relationships/tags" Target="../tags/tag244.xml"/><Relationship Id="rId35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Picture 6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 smtClean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  <p:sldLayoutId id="2147483777" r:id="rId25"/>
    <p:sldLayoutId id="2147483830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404203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1"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817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05567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"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0" name="Pictur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7329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3440879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3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3693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5" r:id="rId25"/>
    <p:sldLayoutId id="2147483776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0903587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1" name="think-cell Slide" r:id="rId35" imgW="360" imgH="360" progId="">
                  <p:embed/>
                </p:oleObj>
              </mc:Choice>
              <mc:Fallback>
                <p:oleObj name="think-cell Slide" r:id="rId3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1755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  <p:sldLayoutId id="2147483803" r:id="rId2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3805045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6" name="think-cell Slide" r:id="rId35" imgW="360" imgH="360" progId="">
                  <p:embed/>
                </p:oleObj>
              </mc:Choice>
              <mc:Fallback>
                <p:oleObj name="think-cell Slide" r:id="rId3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remier Stocktake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147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  <p:sldLayoutId id="2147483823" r:id="rId19"/>
    <p:sldLayoutId id="2147483824" r:id="rId20"/>
    <p:sldLayoutId id="2147483825" r:id="rId21"/>
    <p:sldLayoutId id="2147483826" r:id="rId22"/>
    <p:sldLayoutId id="2147483827" r:id="rId23"/>
    <p:sldLayoutId id="2147483828" r:id="rId24"/>
    <p:sldLayoutId id="2147483829" r:id="rId2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0.xml"/><Relationship Id="rId4" Type="http://schemas.openxmlformats.org/officeDocument/2006/relationships/image" Target="../media/image1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2.xml"/><Relationship Id="rId4" Type="http://schemas.openxmlformats.org/officeDocument/2006/relationships/hyperlink" Target="mailto:Melissa.Parker@westerncape.gov.za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Caro.Sankar@westerncape.gov.za" TargetMode="Externa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4.xml"/><Relationship Id="rId4" Type="http://schemas.openxmlformats.org/officeDocument/2006/relationships/image" Target="../media/image12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467544" y="3068961"/>
            <a:ext cx="8208912" cy="792088"/>
          </a:xfrm>
        </p:spPr>
        <p:txBody>
          <a:bodyPr>
            <a:normAutofit fontScale="90000"/>
          </a:bodyPr>
          <a:lstStyle/>
          <a:p>
            <a:pPr algn="ctr"/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DEDAT Artisan Development Programm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27 May 2016</a:t>
            </a:r>
            <a:endParaRPr lang="en-GB" dirty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467544" y="5053525"/>
            <a:ext cx="8208912" cy="508552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 smtClean="0"/>
              <a:t>SAOGA and DEDAT</a:t>
            </a:r>
            <a:endParaRPr lang="en-GB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8285"/>
          <a:stretch/>
        </p:blipFill>
        <p:spPr>
          <a:xfrm>
            <a:off x="251520" y="5340346"/>
            <a:ext cx="1946034" cy="140835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7" t="5561" r="6426" b="6574"/>
          <a:stretch/>
        </p:blipFill>
        <p:spPr>
          <a:xfrm>
            <a:off x="2987824" y="5349781"/>
            <a:ext cx="1920965" cy="138948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7507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5275" y="205448"/>
            <a:ext cx="8597205" cy="559256"/>
          </a:xfrm>
        </p:spPr>
        <p:txBody>
          <a:bodyPr>
            <a:normAutofit/>
          </a:bodyPr>
          <a:lstStyle/>
          <a:p>
            <a:r>
              <a:rPr lang="en-GB" dirty="0" smtClean="0"/>
              <a:t>Game Changer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5576" y="1772816"/>
            <a:ext cx="8020972" cy="4536504"/>
          </a:xfrm>
        </p:spPr>
        <p:txBody>
          <a:bodyPr>
            <a:noAutofit/>
          </a:bodyPr>
          <a:lstStyle/>
          <a:p>
            <a:pPr lvl="0"/>
            <a:endParaRPr lang="en-US" b="0" dirty="0">
              <a:solidFill>
                <a:prstClr val="black"/>
              </a:solidFill>
            </a:endParaRPr>
          </a:p>
          <a:p>
            <a:r>
              <a:rPr lang="en-ZA" dirty="0" smtClean="0"/>
              <a:t>Increased </a:t>
            </a:r>
            <a:r>
              <a:rPr lang="en-ZA" dirty="0"/>
              <a:t>access to work placement opportunities for </a:t>
            </a:r>
            <a:r>
              <a:rPr lang="en-ZA" u="sng" dirty="0"/>
              <a:t>TVET</a:t>
            </a:r>
            <a:r>
              <a:rPr lang="en-ZA" dirty="0"/>
              <a:t> </a:t>
            </a:r>
            <a:r>
              <a:rPr lang="en-ZA" dirty="0" smtClean="0"/>
              <a:t>learners </a:t>
            </a:r>
          </a:p>
          <a:p>
            <a:r>
              <a:rPr lang="en-ZA" dirty="0" smtClean="0"/>
              <a:t>(Additional Interventions)</a:t>
            </a:r>
          </a:p>
          <a:p>
            <a:endParaRPr lang="en-ZA" dirty="0"/>
          </a:p>
          <a:p>
            <a:pPr marL="285750" indent="-285750">
              <a:buBlip>
                <a:blip r:embed="rId3"/>
              </a:buBlip>
            </a:pPr>
            <a:r>
              <a:rPr lang="en-GB" b="0" dirty="0" smtClean="0">
                <a:solidFill>
                  <a:prstClr val="black"/>
                </a:solidFill>
              </a:rPr>
              <a:t>RPL – 20 ( Welding and Diesel Mechanic – Toolkits)</a:t>
            </a:r>
          </a:p>
          <a:p>
            <a:pPr marL="285750" indent="-285750">
              <a:buBlip>
                <a:blip r:embed="rId3"/>
              </a:buBlip>
            </a:pPr>
            <a:endParaRPr lang="en-GB" b="0" dirty="0" smtClean="0">
              <a:solidFill>
                <a:prstClr val="black"/>
              </a:solidFill>
            </a:endParaRPr>
          </a:p>
          <a:p>
            <a:pPr marL="285750" indent="-285750">
              <a:buBlip>
                <a:blip r:embed="rId3"/>
              </a:buBlip>
            </a:pPr>
            <a:r>
              <a:rPr lang="en-GB" b="0" dirty="0" smtClean="0">
                <a:solidFill>
                  <a:prstClr val="black"/>
                </a:solidFill>
              </a:rPr>
              <a:t>CBMT – 200 (Demand Led)</a:t>
            </a:r>
          </a:p>
          <a:p>
            <a:pPr marL="285750" indent="-285750">
              <a:buBlip>
                <a:blip r:embed="rId3"/>
              </a:buBlip>
            </a:pPr>
            <a:endParaRPr lang="en-GB" b="0" dirty="0">
              <a:solidFill>
                <a:prstClr val="black"/>
              </a:solidFill>
            </a:endParaRPr>
          </a:p>
          <a:p>
            <a:pPr marL="285750" indent="-285750">
              <a:buBlip>
                <a:blip r:embed="rId3"/>
              </a:buBlip>
            </a:pPr>
            <a:r>
              <a:rPr lang="en-GB" b="0" dirty="0" smtClean="0">
                <a:solidFill>
                  <a:prstClr val="black"/>
                </a:solidFill>
              </a:rPr>
              <a:t>Mentorship / Coaching - 30</a:t>
            </a:r>
          </a:p>
          <a:p>
            <a:pPr marL="285750" indent="-285750">
              <a:buBlip>
                <a:blip r:embed="rId3"/>
              </a:buBlip>
            </a:pPr>
            <a:endParaRPr lang="en-GB" b="0" dirty="0" smtClean="0">
              <a:solidFill>
                <a:prstClr val="black"/>
              </a:solidFill>
            </a:endParaRPr>
          </a:p>
          <a:p>
            <a:pPr marL="285750" indent="-285750">
              <a:buBlip>
                <a:blip r:embed="rId3"/>
              </a:buBlip>
            </a:pPr>
            <a:r>
              <a:rPr lang="en-GB" b="0" dirty="0" smtClean="0">
                <a:solidFill>
                  <a:prstClr val="black"/>
                </a:solidFill>
              </a:rPr>
              <a:t>Workplace approval</a:t>
            </a:r>
          </a:p>
          <a:p>
            <a:endParaRPr lang="en-GB" b="0" dirty="0" smtClean="0">
              <a:solidFill>
                <a:prstClr val="black"/>
              </a:solidFill>
            </a:endParaRPr>
          </a:p>
          <a:p>
            <a:pPr marL="285750" indent="-285750">
              <a:buBlip>
                <a:blip r:embed="rId3"/>
              </a:buBlip>
            </a:pPr>
            <a:r>
              <a:rPr lang="en-GB" b="0" dirty="0" smtClean="0">
                <a:solidFill>
                  <a:prstClr val="black"/>
                </a:solidFill>
              </a:rPr>
              <a:t>Trade Test Centres  (workshop to be planned)</a:t>
            </a:r>
          </a:p>
          <a:p>
            <a:pPr marL="285750" indent="-285750">
              <a:buBlip>
                <a:blip r:embed="rId3"/>
              </a:buBlip>
            </a:pPr>
            <a:endParaRPr lang="en-GB" b="0" dirty="0">
              <a:solidFill>
                <a:prstClr val="black"/>
              </a:solidFill>
            </a:endParaRPr>
          </a:p>
          <a:p>
            <a:endParaRPr lang="en-GB" sz="2000" dirty="0" smtClean="0">
              <a:solidFill>
                <a:prstClr val="black"/>
              </a:solidFill>
            </a:endParaRPr>
          </a:p>
          <a:p>
            <a:r>
              <a:rPr lang="en-GB" sz="2000" dirty="0" smtClean="0">
                <a:solidFill>
                  <a:prstClr val="black"/>
                </a:solidFill>
              </a:rPr>
              <a:t>Contact Person: </a:t>
            </a:r>
            <a:r>
              <a:rPr lang="en-GB" sz="2000" dirty="0" smtClean="0">
                <a:solidFill>
                  <a:prstClr val="black"/>
                </a:solidFill>
                <a:hlinkClick r:id="rId4"/>
              </a:rPr>
              <a:t>Melissa.Parker@westerncape.gov.za</a:t>
            </a:r>
            <a:r>
              <a:rPr lang="en-GB" sz="2000" dirty="0" smtClean="0">
                <a:solidFill>
                  <a:prstClr val="black"/>
                </a:solidFill>
              </a:rPr>
              <a:t>   </a:t>
            </a:r>
          </a:p>
          <a:p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smtClean="0"/>
              <a:t>Additional Interventions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0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757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5275" y="205448"/>
            <a:ext cx="8597205" cy="559256"/>
          </a:xfrm>
        </p:spPr>
        <p:txBody>
          <a:bodyPr>
            <a:normAutofit/>
          </a:bodyPr>
          <a:lstStyle/>
          <a:p>
            <a:r>
              <a:rPr lang="en-GB" dirty="0" smtClean="0"/>
              <a:t>Work and Skill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5576" y="1772816"/>
            <a:ext cx="8020972" cy="4536504"/>
          </a:xfrm>
        </p:spPr>
        <p:txBody>
          <a:bodyPr>
            <a:noAutofit/>
          </a:bodyPr>
          <a:lstStyle/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4-6 </a:t>
            </a:r>
            <a:r>
              <a:rPr lang="en-US" sz="2000" b="0" dirty="0">
                <a:solidFill>
                  <a:srgbClr val="003399"/>
                </a:solidFill>
              </a:rPr>
              <a:t>month </a:t>
            </a:r>
            <a:r>
              <a:rPr lang="en-US" sz="2000" b="0" dirty="0" err="1">
                <a:solidFill>
                  <a:srgbClr val="003399"/>
                </a:solidFill>
              </a:rPr>
              <a:t>programme</a:t>
            </a:r>
            <a:r>
              <a:rPr lang="en-US" sz="2000" b="0" dirty="0">
                <a:solidFill>
                  <a:srgbClr val="003399"/>
                </a:solidFill>
              </a:rPr>
              <a:t> – </a:t>
            </a:r>
            <a:endParaRPr lang="en-US" sz="2000" b="0" dirty="0" smtClean="0">
              <a:solidFill>
                <a:srgbClr val="003399"/>
              </a:solidFill>
            </a:endParaRP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Minimum 10-20 candidates</a:t>
            </a: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R2.5k </a:t>
            </a:r>
            <a:r>
              <a:rPr lang="en-US" sz="2000" b="0" dirty="0">
                <a:solidFill>
                  <a:srgbClr val="003399"/>
                </a:solidFill>
              </a:rPr>
              <a:t>per month stipend (DEDAT</a:t>
            </a:r>
            <a:r>
              <a:rPr lang="en-US" sz="2000" b="0" dirty="0" smtClean="0">
                <a:solidFill>
                  <a:srgbClr val="003399"/>
                </a:solidFill>
              </a:rPr>
              <a:t>)</a:t>
            </a: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Age </a:t>
            </a:r>
            <a:r>
              <a:rPr lang="en-US" sz="2000" b="0" dirty="0">
                <a:solidFill>
                  <a:srgbClr val="003399"/>
                </a:solidFill>
              </a:rPr>
              <a:t>18-34 </a:t>
            </a:r>
            <a:r>
              <a:rPr lang="en-US" sz="2000" b="0" dirty="0" smtClean="0">
                <a:solidFill>
                  <a:srgbClr val="003399"/>
                </a:solidFill>
              </a:rPr>
              <a:t> </a:t>
            </a: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smtClean="0">
                <a:solidFill>
                  <a:srgbClr val="003399"/>
                </a:solidFill>
              </a:rPr>
              <a:t>Grade 12 </a:t>
            </a:r>
            <a:r>
              <a:rPr lang="en-US" sz="2000" b="0" dirty="0">
                <a:solidFill>
                  <a:srgbClr val="003399"/>
                </a:solidFill>
              </a:rPr>
              <a:t>minimum </a:t>
            </a:r>
            <a:r>
              <a:rPr lang="en-US" sz="2000" b="0" dirty="0" smtClean="0">
                <a:solidFill>
                  <a:srgbClr val="003399"/>
                </a:solidFill>
              </a:rPr>
              <a:t>– Exceptions </a:t>
            </a:r>
            <a:r>
              <a:rPr lang="en-US" sz="2000" b="0" smtClean="0">
                <a:solidFill>
                  <a:srgbClr val="003399"/>
                </a:solidFill>
              </a:rPr>
              <a:t>on demand</a:t>
            </a:r>
            <a:endParaRPr lang="en-US" sz="2000" b="0" dirty="0" smtClean="0">
              <a:solidFill>
                <a:srgbClr val="003399"/>
              </a:solidFill>
            </a:endParaRP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letter </a:t>
            </a:r>
            <a:r>
              <a:rPr lang="en-US" sz="2000" b="0" dirty="0">
                <a:solidFill>
                  <a:srgbClr val="003399"/>
                </a:solidFill>
              </a:rPr>
              <a:t>of commitment 12 </a:t>
            </a:r>
            <a:r>
              <a:rPr lang="en-US" sz="2000" b="0" dirty="0" smtClean="0">
                <a:solidFill>
                  <a:srgbClr val="003399"/>
                </a:solidFill>
              </a:rPr>
              <a:t>months for a job/or less</a:t>
            </a:r>
            <a:endParaRPr lang="en-US" sz="2000" b="0" dirty="0">
              <a:solidFill>
                <a:srgbClr val="003399"/>
              </a:solidFill>
            </a:endParaRP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rgbClr val="003399"/>
                </a:solidFill>
              </a:rPr>
              <a:t>Agreement to be signed (M &amp;E – DEDAT</a:t>
            </a:r>
            <a:r>
              <a:rPr lang="en-US" sz="2000" b="0" dirty="0" smtClean="0">
                <a:solidFill>
                  <a:srgbClr val="003399"/>
                </a:solidFill>
              </a:rPr>
              <a:t>)</a:t>
            </a: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sz="2000" b="0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sz="2000" b="0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sz="2000" dirty="0" smtClean="0">
                <a:solidFill>
                  <a:srgbClr val="003399"/>
                </a:solidFill>
              </a:rPr>
              <a:t>Contact person: </a:t>
            </a:r>
            <a:r>
              <a:rPr lang="en-US" sz="2000" dirty="0" smtClean="0">
                <a:solidFill>
                  <a:srgbClr val="003399"/>
                </a:solidFill>
                <a:hlinkClick r:id="rId3"/>
              </a:rPr>
              <a:t>Caro.Sankar@westerncape.gov.za</a:t>
            </a:r>
            <a:r>
              <a:rPr lang="en-US" sz="2000" dirty="0" smtClean="0">
                <a:solidFill>
                  <a:srgbClr val="003399"/>
                </a:solidFill>
              </a:rPr>
              <a:t> </a:t>
            </a:r>
            <a:endParaRPr lang="en-US" sz="2000" dirty="0">
              <a:solidFill>
                <a:srgbClr val="003399"/>
              </a:solidFill>
            </a:endParaRPr>
          </a:p>
          <a:p>
            <a:pPr lvl="0"/>
            <a:endParaRPr lang="en-US" b="0" dirty="0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sz="2400" dirty="0" smtClean="0">
                <a:solidFill>
                  <a:schemeClr val="tx1"/>
                </a:solidFill>
              </a:rPr>
              <a:t>Additional Interventions -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1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4128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                        </a:t>
            </a:r>
            <a:endParaRPr lang="en-GB" dirty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467544" y="5053525"/>
            <a:ext cx="8208912" cy="508552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8285"/>
          <a:stretch/>
        </p:blipFill>
        <p:spPr>
          <a:xfrm>
            <a:off x="937353" y="5313357"/>
            <a:ext cx="1946034" cy="140835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7" t="5561" r="6426" b="6574"/>
          <a:stretch/>
        </p:blipFill>
        <p:spPr>
          <a:xfrm>
            <a:off x="971600" y="3340045"/>
            <a:ext cx="1920965" cy="138948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467544" y="4221088"/>
            <a:ext cx="8208912" cy="819992"/>
          </a:xfrm>
        </p:spPr>
        <p:txBody>
          <a:bodyPr>
            <a:normAutofit fontScale="25000" lnSpcReduction="20000"/>
          </a:bodyPr>
          <a:lstStyle/>
          <a:p>
            <a:endParaRPr lang="en-ZA" sz="24000" b="1" dirty="0" smtClean="0"/>
          </a:p>
          <a:p>
            <a:endParaRPr lang="en-ZA" sz="24000" b="1" dirty="0"/>
          </a:p>
          <a:p>
            <a:r>
              <a:rPr lang="en-ZA" sz="24000" b="1" dirty="0" smtClean="0"/>
              <a:t>THANK YOU</a:t>
            </a:r>
          </a:p>
          <a:p>
            <a:endParaRPr lang="en-ZA" sz="12800" b="1" dirty="0" smtClean="0"/>
          </a:p>
          <a:p>
            <a:r>
              <a:rPr lang="en-ZA" sz="12800" b="1" dirty="0" smtClean="0"/>
              <a:t>Advise suppliers and others </a:t>
            </a:r>
            <a:endParaRPr lang="en-ZA" sz="12800" b="1" dirty="0"/>
          </a:p>
          <a:p>
            <a:endParaRPr lang="en-ZA" sz="12800" b="1" dirty="0" smtClean="0"/>
          </a:p>
          <a:p>
            <a:endParaRPr lang="en-ZA" sz="12800" b="1" dirty="0"/>
          </a:p>
          <a:p>
            <a:r>
              <a:rPr lang="en-ZA" sz="12800" b="1" dirty="0" smtClean="0"/>
              <a:t>Claude Orgill</a:t>
            </a:r>
          </a:p>
          <a:p>
            <a:r>
              <a:rPr lang="en-ZA" sz="7200" b="1" dirty="0" smtClean="0"/>
              <a:t>Claude.Orgill@westerncape.gov.za</a:t>
            </a:r>
          </a:p>
          <a:p>
            <a:r>
              <a:rPr lang="en-ZA" sz="7200" b="1" dirty="0" smtClean="0"/>
              <a:t>021 4839337</a:t>
            </a:r>
            <a:endParaRPr lang="en-ZA" sz="7200" b="1" dirty="0"/>
          </a:p>
          <a:p>
            <a:endParaRPr lang="en-ZA" sz="24000" b="1" dirty="0" smtClean="0"/>
          </a:p>
          <a:p>
            <a:r>
              <a:rPr lang="en-ZA" dirty="0" smtClean="0"/>
              <a:t>       </a:t>
            </a:r>
            <a:endParaRPr lang="en-ZA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6117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5275" y="205448"/>
            <a:ext cx="8597205" cy="559256"/>
          </a:xfrm>
        </p:spPr>
        <p:txBody>
          <a:bodyPr>
            <a:normAutofit/>
          </a:bodyPr>
          <a:lstStyle/>
          <a:p>
            <a:r>
              <a:rPr lang="en-GB" dirty="0" smtClean="0"/>
              <a:t>Game Changer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5576" y="1772816"/>
            <a:ext cx="8020972" cy="4536504"/>
          </a:xfrm>
        </p:spPr>
        <p:txBody>
          <a:bodyPr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Oil, Gas &amp; Marine, Prioritizing port infrastructure and Rig/Ship Repair  and Marine services – (Related industries 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b="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Tourism</a:t>
            </a:r>
            <a:r>
              <a:rPr lang="en-US" b="0" dirty="0" smtClean="0">
                <a:solidFill>
                  <a:prstClr val="black"/>
                </a:solidFill>
              </a:rPr>
              <a:t>, prioritizing air accessibility, marketing and event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b="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err="1" smtClean="0">
                <a:solidFill>
                  <a:prstClr val="black"/>
                </a:solidFill>
              </a:rPr>
              <a:t>Agri-procesing</a:t>
            </a:r>
            <a:r>
              <a:rPr lang="en-US" b="0" dirty="0" smtClean="0">
                <a:solidFill>
                  <a:prstClr val="black"/>
                </a:solidFill>
              </a:rPr>
              <a:t>, prioritizing wine and </a:t>
            </a:r>
            <a:r>
              <a:rPr lang="en-US" b="0" dirty="0" err="1" smtClean="0">
                <a:solidFill>
                  <a:prstClr val="black"/>
                </a:solidFill>
              </a:rPr>
              <a:t>halaal</a:t>
            </a:r>
            <a:r>
              <a:rPr lang="en-US" b="0" dirty="0" smtClean="0">
                <a:solidFill>
                  <a:prstClr val="black"/>
                </a:solidFill>
              </a:rPr>
              <a:t> food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b="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Energy Security</a:t>
            </a:r>
            <a:r>
              <a:rPr lang="en-US" b="0" dirty="0" smtClean="0">
                <a:solidFill>
                  <a:prstClr val="black"/>
                </a:solidFill>
              </a:rPr>
              <a:t>, prioritizing natural gas, rooftop PV and energy efficienc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b="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ICT</a:t>
            </a:r>
            <a:r>
              <a:rPr lang="en-US" b="0" dirty="0" smtClean="0">
                <a:solidFill>
                  <a:prstClr val="black"/>
                </a:solidFill>
              </a:rPr>
              <a:t> (Information Communication Technology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b="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Film</a:t>
            </a:r>
            <a:r>
              <a:rPr lang="en-US" b="0" dirty="0" smtClean="0">
                <a:solidFill>
                  <a:prstClr val="black"/>
                </a:solidFill>
              </a:rPr>
              <a:t>, a strategic priority of the City of Cape Tow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b="0" dirty="0" smtClean="0">
              <a:solidFill>
                <a:prstClr val="black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Water Infrastructur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i="0" dirty="0" smtClean="0">
                <a:solidFill>
                  <a:schemeClr val="tx1"/>
                </a:solidFill>
              </a:rPr>
              <a:t>Economic Growth </a:t>
            </a:r>
            <a:r>
              <a:rPr lang="en-US" i="0" dirty="0">
                <a:solidFill>
                  <a:schemeClr val="tx1"/>
                </a:solidFill>
              </a:rPr>
              <a:t>and </a:t>
            </a:r>
            <a:r>
              <a:rPr lang="en-US" i="0" dirty="0" smtClean="0">
                <a:solidFill>
                  <a:schemeClr val="tx1"/>
                </a:solidFill>
              </a:rPr>
              <a:t>Enabling Secto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6868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181653" y="6173688"/>
            <a:ext cx="710827" cy="525294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3529" y="1102470"/>
            <a:ext cx="8820472" cy="489607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7675" y="333376"/>
            <a:ext cx="8597205" cy="72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sz="2000" dirty="0" smtClean="0">
                <a:solidFill>
                  <a:srgbClr val="003399"/>
                </a:solidFill>
              </a:rPr>
              <a:t>Suppliers of Diverse Range of Services &amp; Work </a:t>
            </a:r>
            <a:r>
              <a:rPr lang="en-US" sz="2000" dirty="0">
                <a:solidFill>
                  <a:srgbClr val="003399"/>
                </a:solidFill>
              </a:rPr>
              <a:t>Placement </a:t>
            </a:r>
            <a:r>
              <a:rPr lang="en-US" sz="2000" dirty="0" err="1">
                <a:solidFill>
                  <a:srgbClr val="003399"/>
                </a:solidFill>
              </a:rPr>
              <a:t>Programmes</a:t>
            </a:r>
            <a:r>
              <a:rPr lang="en-US" sz="2000" dirty="0">
                <a:solidFill>
                  <a:srgbClr val="003399"/>
                </a:solidFill>
              </a:rPr>
              <a:t>: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5928" y="1957154"/>
            <a:ext cx="3240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b="1" dirty="0" smtClean="0">
                <a:solidFill>
                  <a:srgbClr val="003399"/>
                </a:solidFill>
              </a:rPr>
              <a:t>Productive Sectors:</a:t>
            </a:r>
            <a:endParaRPr lang="en-ZA" sz="2000" b="1" dirty="0">
              <a:solidFill>
                <a:srgbClr val="003399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72472" y="3424141"/>
            <a:ext cx="3240360" cy="1957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711200">
              <a:spcBef>
                <a:spcPct val="0"/>
              </a:spcBef>
              <a:spcAft>
                <a:spcPct val="35000"/>
              </a:spcAft>
              <a:buFontTx/>
              <a:buBlip>
                <a:blip r:embed="rId2"/>
              </a:buBlip>
            </a:pPr>
            <a:r>
              <a:rPr lang="en-US" sz="2400" b="1" dirty="0" smtClean="0">
                <a:solidFill>
                  <a:srgbClr val="7030A0"/>
                </a:solidFill>
              </a:rPr>
              <a:t>Energy</a:t>
            </a:r>
          </a:p>
          <a:p>
            <a:pPr marL="285750" indent="-285750" defTabSz="711200">
              <a:spcBef>
                <a:spcPct val="0"/>
              </a:spcBef>
              <a:spcAft>
                <a:spcPct val="35000"/>
              </a:spcAft>
              <a:buFontTx/>
              <a:buBlip>
                <a:blip r:embed="rId2"/>
              </a:buBlip>
            </a:pPr>
            <a:r>
              <a:rPr lang="en-US" sz="2400" b="1" dirty="0" smtClean="0">
                <a:solidFill>
                  <a:srgbClr val="7030A0"/>
                </a:solidFill>
              </a:rPr>
              <a:t>Water</a:t>
            </a:r>
          </a:p>
          <a:p>
            <a:pPr marL="285750" indent="-285750" defTabSz="711200">
              <a:spcBef>
                <a:spcPct val="0"/>
              </a:spcBef>
              <a:spcAft>
                <a:spcPct val="35000"/>
              </a:spcAft>
              <a:buFontTx/>
              <a:buBlip>
                <a:blip r:embed="rId2"/>
              </a:buBlip>
            </a:pPr>
            <a:r>
              <a:rPr lang="en-US" sz="2400" b="1" dirty="0" smtClean="0">
                <a:solidFill>
                  <a:srgbClr val="7030A0"/>
                </a:solidFill>
              </a:rPr>
              <a:t>Broadband</a:t>
            </a:r>
          </a:p>
          <a:p>
            <a:pPr marL="285750" indent="-285750" defTabSz="711200">
              <a:spcBef>
                <a:spcPct val="0"/>
              </a:spcBef>
              <a:spcAft>
                <a:spcPct val="35000"/>
              </a:spcAft>
              <a:buFontTx/>
              <a:buBlip>
                <a:blip r:embed="rId2"/>
              </a:buBlip>
            </a:pPr>
            <a:r>
              <a:rPr lang="en-US" sz="2400" b="1" dirty="0" smtClean="0">
                <a:solidFill>
                  <a:srgbClr val="7030A0"/>
                </a:solidFill>
              </a:rPr>
              <a:t>Skills</a:t>
            </a:r>
            <a:endParaRPr lang="en-US" sz="2400" b="1" dirty="0">
              <a:solidFill>
                <a:srgbClr val="7030A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601492" y="2893258"/>
            <a:ext cx="4163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3399"/>
                </a:solidFill>
              </a:rPr>
              <a:t>Enablers:</a:t>
            </a:r>
            <a:endParaRPr lang="en-US" sz="2000" b="1" dirty="0">
              <a:solidFill>
                <a:srgbClr val="003399"/>
              </a:solidFill>
            </a:endParaRPr>
          </a:p>
        </p:txBody>
      </p:sp>
      <p:sp>
        <p:nvSpPr>
          <p:cNvPr id="12" name="Left Arrow 11"/>
          <p:cNvSpPr/>
          <p:nvPr/>
        </p:nvSpPr>
        <p:spPr>
          <a:xfrm rot="18840000">
            <a:off x="3198098" y="2214045"/>
            <a:ext cx="909862" cy="735054"/>
          </a:xfrm>
          <a:prstGeom prst="lef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13" name="Left Arrow 12"/>
          <p:cNvSpPr/>
          <p:nvPr/>
        </p:nvSpPr>
        <p:spPr>
          <a:xfrm>
            <a:off x="3813193" y="4279037"/>
            <a:ext cx="911207" cy="598507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475929" y="1287791"/>
            <a:ext cx="5320207" cy="374217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cap="all" dirty="0" smtClean="0">
                <a:solidFill>
                  <a:srgbClr val="003399"/>
                </a:solidFill>
              </a:rPr>
              <a:t>Project </a:t>
            </a:r>
            <a:r>
              <a:rPr lang="en-US" cap="all" dirty="0" err="1" smtClean="0">
                <a:solidFill>
                  <a:srgbClr val="003399"/>
                </a:solidFill>
              </a:rPr>
              <a:t>khulisa</a:t>
            </a:r>
            <a:r>
              <a:rPr lang="en-US" cap="all" dirty="0" smtClean="0">
                <a:solidFill>
                  <a:srgbClr val="003399"/>
                </a:solidFill>
              </a:rPr>
              <a:t> (</a:t>
            </a:r>
            <a:r>
              <a:rPr lang="en-US" dirty="0" smtClean="0">
                <a:solidFill>
                  <a:srgbClr val="003399"/>
                </a:solidFill>
              </a:rPr>
              <a:t>“to grow”</a:t>
            </a:r>
            <a:r>
              <a:rPr lang="en-US" cap="all" dirty="0" smtClean="0">
                <a:solidFill>
                  <a:srgbClr val="003399"/>
                </a:solidFill>
              </a:rPr>
              <a:t>)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15" name="Footer Placeholder 10"/>
          <p:cNvSpPr txBox="1">
            <a:spLocks/>
          </p:cNvSpPr>
          <p:nvPr/>
        </p:nvSpPr>
        <p:spPr>
          <a:xfrm>
            <a:off x="4195480" y="66205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mtClean="0">
                <a:solidFill>
                  <a:srgbClr val="998F86"/>
                </a:solidFill>
              </a:rPr>
              <a:t>Vision of WCG: The next five years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342042" y="1117222"/>
            <a:ext cx="8668073" cy="4960168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439851" y="1246408"/>
            <a:ext cx="2562529" cy="1248749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Fabrication &amp; </a:t>
            </a: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Construction</a:t>
            </a: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err="1" smtClean="0">
                <a:solidFill>
                  <a:srgbClr val="003399"/>
                </a:solidFill>
              </a:rPr>
              <a:t>yyuyyy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203848" y="1246410"/>
            <a:ext cx="2592288" cy="1248749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Maritime Repairs </a:t>
            </a: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&amp; Maintenance</a:t>
            </a: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err="1" smtClean="0">
                <a:solidFill>
                  <a:srgbClr val="003399"/>
                </a:solidFill>
              </a:rPr>
              <a:t>vfgrg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6012160" y="1246409"/>
            <a:ext cx="2706546" cy="1248749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E &amp; P Service </a:t>
            </a: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Companies</a:t>
            </a: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err="1" smtClean="0">
                <a:solidFill>
                  <a:srgbClr val="003399"/>
                </a:solidFill>
              </a:rPr>
              <a:t>ssss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372051" y="3597306"/>
            <a:ext cx="8370586" cy="607876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404315" y="4279037"/>
            <a:ext cx="8329607" cy="723572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Logistics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425296" y="5157192"/>
            <a:ext cx="8328339" cy="748098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Other Services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392229" y="2725725"/>
            <a:ext cx="8293411" cy="698416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General Engineering Services</a:t>
            </a: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 smtClean="0">
                <a:solidFill>
                  <a:srgbClr val="003399"/>
                </a:solidFill>
              </a:rPr>
              <a:t>Equipment &amp; Material Supplies</a:t>
            </a:r>
          </a:p>
        </p:txBody>
      </p:sp>
    </p:spTree>
    <p:extLst>
      <p:ext uri="{BB962C8B-B14F-4D97-AF65-F5344CB8AC3E}">
        <p14:creationId xmlns:p14="http://schemas.microsoft.com/office/powerpoint/2010/main" val="3716637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9347557"/>
              </p:ext>
            </p:extLst>
          </p:nvPr>
        </p:nvGraphicFramePr>
        <p:xfrm>
          <a:off x="-252536" y="673451"/>
          <a:ext cx="10610454" cy="6217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11560" y="260648"/>
            <a:ext cx="82809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 smtClean="0"/>
              <a:t>Game Changer TVET System including Artisan Development</a:t>
            </a:r>
            <a:endParaRPr lang="en-ZA" sz="2000" b="1" dirty="0"/>
          </a:p>
        </p:txBody>
      </p:sp>
    </p:spTree>
    <p:extLst>
      <p:ext uri="{BB962C8B-B14F-4D97-AF65-F5344CB8AC3E}">
        <p14:creationId xmlns:p14="http://schemas.microsoft.com/office/powerpoint/2010/main" val="1150598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urved Right Arrow 21"/>
          <p:cNvSpPr/>
          <p:nvPr/>
        </p:nvSpPr>
        <p:spPr>
          <a:xfrm rot="18782501">
            <a:off x="2403257" y="1390788"/>
            <a:ext cx="3607060" cy="6174259"/>
          </a:xfrm>
          <a:prstGeom prst="curvedRightArrow">
            <a:avLst/>
          </a:prstGeom>
          <a:solidFill>
            <a:schemeClr val="bg1">
              <a:lumMod val="65000"/>
              <a:alpha val="78000"/>
            </a:scheme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How we think change could happen (Levers) </a:t>
            </a:r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emier Stocktake</a:t>
            </a:r>
            <a:endParaRPr lang="en-GB" dirty="0"/>
          </a:p>
        </p:txBody>
      </p:sp>
      <p:sp>
        <p:nvSpPr>
          <p:cNvPr id="11" name="Rounded Rectangle 10"/>
          <p:cNvSpPr/>
          <p:nvPr/>
        </p:nvSpPr>
        <p:spPr>
          <a:xfrm>
            <a:off x="2555776" y="3068960"/>
            <a:ext cx="2376264" cy="118172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 smtClean="0">
                <a:solidFill>
                  <a:prstClr val="white"/>
                </a:solidFill>
              </a:rPr>
              <a:t>Increased enrolment into </a:t>
            </a:r>
            <a:r>
              <a:rPr lang="en-ZA" sz="1400" u="sng" dirty="0" smtClean="0">
                <a:solidFill>
                  <a:prstClr val="white"/>
                </a:solidFill>
              </a:rPr>
              <a:t>TVET</a:t>
            </a:r>
            <a:r>
              <a:rPr lang="en-ZA" sz="1400" dirty="0" smtClean="0">
                <a:solidFill>
                  <a:prstClr val="white"/>
                </a:solidFill>
              </a:rPr>
              <a:t> bridging programmes</a:t>
            </a:r>
            <a:endParaRPr lang="en-ZA" sz="1400" dirty="0">
              <a:solidFill>
                <a:prstClr val="white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539552" y="4221088"/>
            <a:ext cx="1872208" cy="115212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solidFill>
                  <a:prstClr val="white"/>
                </a:solidFill>
              </a:rPr>
              <a:t>Improved access to consolidated </a:t>
            </a:r>
            <a:r>
              <a:rPr lang="en-ZA" sz="1400" dirty="0" smtClean="0">
                <a:solidFill>
                  <a:prstClr val="white"/>
                </a:solidFill>
              </a:rPr>
              <a:t>funding for </a:t>
            </a:r>
            <a:r>
              <a:rPr lang="en-ZA" sz="1400" u="sng" dirty="0" smtClean="0">
                <a:solidFill>
                  <a:prstClr val="white"/>
                </a:solidFill>
              </a:rPr>
              <a:t>TVET</a:t>
            </a:r>
            <a:r>
              <a:rPr lang="en-ZA" sz="1400" dirty="0" smtClean="0">
                <a:solidFill>
                  <a:prstClr val="white"/>
                </a:solidFill>
              </a:rPr>
              <a:t> learners</a:t>
            </a:r>
            <a:endParaRPr lang="en-ZA" sz="1400" dirty="0">
              <a:solidFill>
                <a:prstClr val="white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429086" y="5085995"/>
            <a:ext cx="3672408" cy="1910951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000" b="1" dirty="0">
                <a:solidFill>
                  <a:prstClr val="white"/>
                </a:solidFill>
              </a:rPr>
              <a:t>Increased access to work placement opportunities </a:t>
            </a:r>
            <a:r>
              <a:rPr lang="en-ZA" sz="2000" b="1" dirty="0" smtClean="0">
                <a:solidFill>
                  <a:prstClr val="white"/>
                </a:solidFill>
              </a:rPr>
              <a:t>for </a:t>
            </a:r>
            <a:r>
              <a:rPr lang="en-ZA" sz="2000" b="1" u="sng" dirty="0" smtClean="0">
                <a:solidFill>
                  <a:prstClr val="white"/>
                </a:solidFill>
              </a:rPr>
              <a:t>TVET</a:t>
            </a:r>
            <a:r>
              <a:rPr lang="en-ZA" sz="2000" b="1" dirty="0" smtClean="0">
                <a:solidFill>
                  <a:prstClr val="white"/>
                </a:solidFill>
              </a:rPr>
              <a:t> learners</a:t>
            </a:r>
            <a:endParaRPr lang="en-ZA" sz="2000" b="1" dirty="0">
              <a:solidFill>
                <a:prstClr val="white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175007" y="1412776"/>
            <a:ext cx="2277297" cy="111612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solidFill>
                  <a:prstClr val="white"/>
                </a:solidFill>
              </a:rPr>
              <a:t>Enhanced awareness of </a:t>
            </a:r>
            <a:r>
              <a:rPr lang="en-ZA" sz="1400" u="sng" dirty="0" smtClean="0">
                <a:solidFill>
                  <a:prstClr val="white"/>
                </a:solidFill>
              </a:rPr>
              <a:t>TVET</a:t>
            </a:r>
            <a:r>
              <a:rPr lang="en-ZA" sz="1400" dirty="0" smtClean="0">
                <a:solidFill>
                  <a:prstClr val="white"/>
                </a:solidFill>
              </a:rPr>
              <a:t> as </a:t>
            </a:r>
            <a:r>
              <a:rPr lang="en-ZA" sz="1400" dirty="0">
                <a:solidFill>
                  <a:prstClr val="white"/>
                </a:solidFill>
              </a:rPr>
              <a:t>a </a:t>
            </a:r>
            <a:endParaRPr lang="en-ZA" sz="1400" dirty="0" smtClean="0">
              <a:solidFill>
                <a:prstClr val="white"/>
              </a:solidFill>
            </a:endParaRPr>
          </a:p>
          <a:p>
            <a:pPr algn="ctr"/>
            <a:r>
              <a:rPr lang="en-ZA" sz="1400" dirty="0" smtClean="0">
                <a:solidFill>
                  <a:prstClr val="white"/>
                </a:solidFill>
              </a:rPr>
              <a:t>career </a:t>
            </a:r>
            <a:r>
              <a:rPr lang="en-ZA" sz="1400" dirty="0">
                <a:solidFill>
                  <a:prstClr val="white"/>
                </a:solidFill>
              </a:rPr>
              <a:t>option </a:t>
            </a:r>
          </a:p>
        </p:txBody>
      </p:sp>
      <p:sp>
        <p:nvSpPr>
          <p:cNvPr id="23" name="Oval 22"/>
          <p:cNvSpPr/>
          <p:nvPr/>
        </p:nvSpPr>
        <p:spPr>
          <a:xfrm>
            <a:off x="2917205" y="1196752"/>
            <a:ext cx="504056" cy="43204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b="1" dirty="0">
                <a:solidFill>
                  <a:prstClr val="white"/>
                </a:solidFill>
              </a:rPr>
              <a:t>1</a:t>
            </a:r>
            <a:endParaRPr lang="en-ZA" sz="1200" b="1" dirty="0">
              <a:solidFill>
                <a:prstClr val="white"/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2917205" y="4769555"/>
            <a:ext cx="504056" cy="43204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b="1" dirty="0" smtClean="0">
                <a:solidFill>
                  <a:prstClr val="white"/>
                </a:solidFill>
              </a:rPr>
              <a:t>4</a:t>
            </a:r>
            <a:endParaRPr lang="en-ZA" sz="1600" b="1" dirty="0">
              <a:solidFill>
                <a:prstClr val="white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215516" y="3914571"/>
            <a:ext cx="504056" cy="43204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28" name="Oval 27"/>
          <p:cNvSpPr/>
          <p:nvPr/>
        </p:nvSpPr>
        <p:spPr>
          <a:xfrm>
            <a:off x="2195736" y="2819152"/>
            <a:ext cx="612068" cy="43204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b="1" dirty="0">
                <a:solidFill>
                  <a:prstClr val="white"/>
                </a:solidFill>
              </a:rPr>
              <a:t>2</a:t>
            </a:r>
            <a:endParaRPr lang="en-ZA" sz="1200" b="1" dirty="0">
              <a:solidFill>
                <a:prstClr val="white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6151494" y="5420361"/>
            <a:ext cx="1992224" cy="124998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solidFill>
                  <a:prstClr val="white"/>
                </a:solidFill>
              </a:rPr>
              <a:t>Reduction in regulatory barriers faced by stakeholders across the </a:t>
            </a:r>
            <a:r>
              <a:rPr lang="en-ZA" sz="1400" dirty="0" smtClean="0">
                <a:solidFill>
                  <a:prstClr val="white"/>
                </a:solidFill>
              </a:rPr>
              <a:t>skills </a:t>
            </a:r>
            <a:r>
              <a:rPr lang="en-ZA" sz="1400" dirty="0">
                <a:solidFill>
                  <a:prstClr val="white"/>
                </a:solidFill>
              </a:rPr>
              <a:t>pipeline</a:t>
            </a:r>
          </a:p>
        </p:txBody>
      </p:sp>
      <p:sp>
        <p:nvSpPr>
          <p:cNvPr id="18" name="Oval 17"/>
          <p:cNvSpPr/>
          <p:nvPr/>
        </p:nvSpPr>
        <p:spPr>
          <a:xfrm>
            <a:off x="6012694" y="5060954"/>
            <a:ext cx="504056" cy="43204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b="1" dirty="0" smtClean="0">
                <a:solidFill>
                  <a:prstClr val="white"/>
                </a:solidFill>
              </a:rPr>
              <a:t>5</a:t>
            </a:r>
            <a:endParaRPr lang="en-ZA" sz="1600" b="1" dirty="0">
              <a:solidFill>
                <a:prstClr val="white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148064" y="2596106"/>
            <a:ext cx="1944216" cy="198502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b="1" dirty="0" smtClean="0">
                <a:solidFill>
                  <a:schemeClr val="bg1"/>
                </a:solidFill>
                <a:cs typeface="Arial" charset="0"/>
              </a:rPr>
              <a:t>Sufficient appropriately qualified </a:t>
            </a:r>
            <a:r>
              <a:rPr lang="en-ZA" sz="1400" b="1" u="sng" dirty="0" smtClean="0">
                <a:solidFill>
                  <a:schemeClr val="bg1"/>
                </a:solidFill>
                <a:cs typeface="Arial" charset="0"/>
              </a:rPr>
              <a:t>technical and vocational skills </a:t>
            </a:r>
            <a:r>
              <a:rPr lang="en-ZA" sz="1400" b="1" dirty="0" smtClean="0">
                <a:solidFill>
                  <a:schemeClr val="bg1"/>
                </a:solidFill>
                <a:cs typeface="Arial" charset="0"/>
              </a:rPr>
              <a:t>to meet the needs of </a:t>
            </a:r>
            <a:r>
              <a:rPr lang="en-ZA" sz="1400" b="1" u="sng" dirty="0" smtClean="0">
                <a:solidFill>
                  <a:schemeClr val="bg1"/>
                </a:solidFill>
                <a:cs typeface="Arial" charset="0"/>
              </a:rPr>
              <a:t>Game Changer</a:t>
            </a:r>
            <a:r>
              <a:rPr lang="en-ZA" sz="1400" b="1" dirty="0" smtClean="0">
                <a:solidFill>
                  <a:schemeClr val="bg1"/>
                </a:solidFill>
                <a:cs typeface="Arial" charset="0"/>
              </a:rPr>
              <a:t> sectors and economic growth</a:t>
            </a:r>
            <a:endParaRPr lang="en-ZA" sz="14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5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5-Point Star 4"/>
          <p:cNvSpPr/>
          <p:nvPr/>
        </p:nvSpPr>
        <p:spPr>
          <a:xfrm>
            <a:off x="2438049" y="6309320"/>
            <a:ext cx="45719" cy="45719"/>
          </a:xfrm>
          <a:prstGeom prst="star5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92381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273583991"/>
              </p:ext>
            </p:extLst>
          </p:nvPr>
        </p:nvGraphicFramePr>
        <p:xfrm>
          <a:off x="1043608" y="1397000"/>
          <a:ext cx="7008440" cy="5128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ZA" dirty="0" smtClean="0"/>
              <a:t>Placement Model</a:t>
            </a:r>
            <a:endParaRPr lang="en-ZA" dirty="0"/>
          </a:p>
        </p:txBody>
      </p:sp>
      <p:sp>
        <p:nvSpPr>
          <p:cNvPr id="9" name="Curved Left Arrow 8"/>
          <p:cNvSpPr/>
          <p:nvPr/>
        </p:nvSpPr>
        <p:spPr>
          <a:xfrm rot="20553788">
            <a:off x="5687329" y="1992684"/>
            <a:ext cx="2586993" cy="3248976"/>
          </a:xfrm>
          <a:prstGeom prst="curved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black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r"/>
            <a:endParaRPr lang="en-ZA" dirty="0" smtClean="0"/>
          </a:p>
          <a:p>
            <a:pPr algn="r"/>
            <a:endParaRPr lang="en-ZA" dirty="0"/>
          </a:p>
          <a:p>
            <a:pPr algn="r"/>
            <a:endParaRPr lang="en-ZA" dirty="0" smtClean="0"/>
          </a:p>
          <a:p>
            <a:pPr algn="r"/>
            <a:endParaRPr lang="en-ZA" dirty="0"/>
          </a:p>
          <a:p>
            <a:pPr algn="r"/>
            <a:endParaRPr lang="en-ZA" dirty="0" smtClean="0"/>
          </a:p>
          <a:p>
            <a:pPr algn="r"/>
            <a:endParaRPr lang="en-ZA" dirty="0"/>
          </a:p>
          <a:p>
            <a:pPr algn="r"/>
            <a:r>
              <a:rPr lang="en-ZA" b="1" dirty="0" smtClean="0"/>
              <a:t>The learning agreement!</a:t>
            </a:r>
            <a:endParaRPr lang="en-ZA" b="1" dirty="0"/>
          </a:p>
        </p:txBody>
      </p:sp>
      <p:pic>
        <p:nvPicPr>
          <p:cNvPr id="7" name="Picture 6" descr="SAOGA-Logo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9647" y="4581128"/>
            <a:ext cx="1916361" cy="148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13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181653" y="6173688"/>
            <a:ext cx="710827" cy="525294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3529" y="1102470"/>
            <a:ext cx="8820472" cy="489607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7675" y="333376"/>
            <a:ext cx="8597205" cy="72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dirty="0">
                <a:solidFill>
                  <a:srgbClr val="003399"/>
                </a:solidFill>
              </a:rPr>
              <a:t>Work Placement </a:t>
            </a:r>
            <a:r>
              <a:rPr lang="en-US" dirty="0" err="1">
                <a:solidFill>
                  <a:srgbClr val="003399"/>
                </a:solidFill>
              </a:rPr>
              <a:t>Programmes</a:t>
            </a:r>
            <a:r>
              <a:rPr lang="en-US" dirty="0">
                <a:solidFill>
                  <a:srgbClr val="003399"/>
                </a:solidFill>
              </a:rPr>
              <a:t>: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714310447"/>
              </p:ext>
            </p:extLst>
          </p:nvPr>
        </p:nvGraphicFramePr>
        <p:xfrm>
          <a:off x="270503" y="2373233"/>
          <a:ext cx="4356992" cy="3800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75928" y="1957154"/>
            <a:ext cx="3240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b="1" dirty="0" smtClean="0">
                <a:solidFill>
                  <a:srgbClr val="003399"/>
                </a:solidFill>
              </a:rPr>
              <a:t>Productive Sectors:</a:t>
            </a:r>
            <a:endParaRPr lang="en-ZA" sz="2000" b="1" dirty="0">
              <a:solidFill>
                <a:srgbClr val="003399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72472" y="3424141"/>
            <a:ext cx="3240360" cy="1957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711200">
              <a:spcBef>
                <a:spcPct val="0"/>
              </a:spcBef>
              <a:spcAft>
                <a:spcPct val="35000"/>
              </a:spcAft>
              <a:buFontTx/>
              <a:buBlip>
                <a:blip r:embed="rId7"/>
              </a:buBlip>
            </a:pPr>
            <a:r>
              <a:rPr lang="en-US" sz="2400" b="1" dirty="0" smtClean="0">
                <a:solidFill>
                  <a:srgbClr val="7030A0"/>
                </a:solidFill>
              </a:rPr>
              <a:t>Energy</a:t>
            </a:r>
          </a:p>
          <a:p>
            <a:pPr marL="285750" indent="-285750" defTabSz="711200">
              <a:spcBef>
                <a:spcPct val="0"/>
              </a:spcBef>
              <a:spcAft>
                <a:spcPct val="35000"/>
              </a:spcAft>
              <a:buFontTx/>
              <a:buBlip>
                <a:blip r:embed="rId7"/>
              </a:buBlip>
            </a:pPr>
            <a:r>
              <a:rPr lang="en-US" sz="2400" b="1" dirty="0" smtClean="0">
                <a:solidFill>
                  <a:srgbClr val="7030A0"/>
                </a:solidFill>
              </a:rPr>
              <a:t>Water</a:t>
            </a:r>
          </a:p>
          <a:p>
            <a:pPr marL="285750" indent="-285750" defTabSz="711200">
              <a:spcBef>
                <a:spcPct val="0"/>
              </a:spcBef>
              <a:spcAft>
                <a:spcPct val="35000"/>
              </a:spcAft>
              <a:buFontTx/>
              <a:buBlip>
                <a:blip r:embed="rId7"/>
              </a:buBlip>
            </a:pPr>
            <a:r>
              <a:rPr lang="en-US" sz="2400" b="1" dirty="0" smtClean="0">
                <a:solidFill>
                  <a:srgbClr val="7030A0"/>
                </a:solidFill>
              </a:rPr>
              <a:t>Broadband</a:t>
            </a:r>
          </a:p>
          <a:p>
            <a:pPr marL="285750" indent="-285750" defTabSz="711200">
              <a:spcBef>
                <a:spcPct val="0"/>
              </a:spcBef>
              <a:spcAft>
                <a:spcPct val="35000"/>
              </a:spcAft>
              <a:buFontTx/>
              <a:buBlip>
                <a:blip r:embed="rId7"/>
              </a:buBlip>
            </a:pPr>
            <a:r>
              <a:rPr lang="en-US" sz="2400" b="1" dirty="0" smtClean="0">
                <a:solidFill>
                  <a:srgbClr val="7030A0"/>
                </a:solidFill>
              </a:rPr>
              <a:t>Skills</a:t>
            </a:r>
            <a:endParaRPr lang="en-US" sz="2400" b="1" dirty="0">
              <a:solidFill>
                <a:srgbClr val="7030A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601492" y="2893258"/>
            <a:ext cx="4163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3399"/>
                </a:solidFill>
              </a:rPr>
              <a:t>Enablers:</a:t>
            </a:r>
            <a:endParaRPr lang="en-US" sz="2000" b="1" dirty="0">
              <a:solidFill>
                <a:srgbClr val="003399"/>
              </a:solidFill>
            </a:endParaRPr>
          </a:p>
        </p:txBody>
      </p:sp>
      <p:sp>
        <p:nvSpPr>
          <p:cNvPr id="12" name="Left Arrow 11"/>
          <p:cNvSpPr/>
          <p:nvPr/>
        </p:nvSpPr>
        <p:spPr>
          <a:xfrm rot="18840000">
            <a:off x="3198098" y="2214045"/>
            <a:ext cx="909862" cy="735054"/>
          </a:xfrm>
          <a:prstGeom prst="lef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13" name="Left Arrow 12"/>
          <p:cNvSpPr/>
          <p:nvPr/>
        </p:nvSpPr>
        <p:spPr>
          <a:xfrm>
            <a:off x="3813193" y="4279037"/>
            <a:ext cx="911207" cy="598507"/>
          </a:xfrm>
          <a:prstGeom prst="lef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475929" y="1287791"/>
            <a:ext cx="5320207" cy="374217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cap="all" dirty="0" smtClean="0">
                <a:solidFill>
                  <a:srgbClr val="003399"/>
                </a:solidFill>
              </a:rPr>
              <a:t>Project </a:t>
            </a:r>
            <a:r>
              <a:rPr lang="en-US" cap="all" dirty="0" err="1" smtClean="0">
                <a:solidFill>
                  <a:srgbClr val="003399"/>
                </a:solidFill>
              </a:rPr>
              <a:t>khulisa</a:t>
            </a:r>
            <a:r>
              <a:rPr lang="en-US" cap="all" dirty="0" smtClean="0">
                <a:solidFill>
                  <a:srgbClr val="003399"/>
                </a:solidFill>
              </a:rPr>
              <a:t> (</a:t>
            </a:r>
            <a:r>
              <a:rPr lang="en-US" dirty="0" smtClean="0">
                <a:solidFill>
                  <a:srgbClr val="003399"/>
                </a:solidFill>
              </a:rPr>
              <a:t>“to grow”</a:t>
            </a:r>
            <a:r>
              <a:rPr lang="en-US" cap="all" dirty="0" smtClean="0">
                <a:solidFill>
                  <a:srgbClr val="003399"/>
                </a:solidFill>
              </a:rPr>
              <a:t>)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15" name="Footer Placeholder 10"/>
          <p:cNvSpPr txBox="1">
            <a:spLocks/>
          </p:cNvSpPr>
          <p:nvPr/>
        </p:nvSpPr>
        <p:spPr>
          <a:xfrm>
            <a:off x="4195480" y="66205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mtClean="0">
                <a:solidFill>
                  <a:srgbClr val="998F86"/>
                </a:solidFill>
              </a:rPr>
              <a:t>Vision of WCG: The next five years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72894" y="1061120"/>
            <a:ext cx="8668073" cy="4960168"/>
          </a:xfrm>
          <a:prstGeom prst="rect">
            <a:avLst/>
          </a:prstGeom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none" lIns="72000" tIns="72000" rIns="72000" bIns="7200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711200">
              <a:lnSpc>
                <a:spcPct val="90000"/>
              </a:lnSpc>
              <a:spcAft>
                <a:spcPct val="35000"/>
              </a:spcAft>
            </a:pPr>
            <a:r>
              <a:rPr lang="en-US" sz="2800" dirty="0" smtClean="0">
                <a:solidFill>
                  <a:srgbClr val="003399"/>
                </a:solidFill>
              </a:rPr>
              <a:t>Artisan Development</a:t>
            </a: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18 month placement (TVET Students)</a:t>
            </a: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sz="2000" b="0" dirty="0" smtClean="0">
              <a:solidFill>
                <a:srgbClr val="003399"/>
              </a:solidFill>
            </a:endParaRP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R3k per month stipend (SAOGA)</a:t>
            </a: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2000" b="0" dirty="0" smtClean="0">
              <a:solidFill>
                <a:srgbClr val="003399"/>
              </a:solidFill>
            </a:endParaRP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Min </a:t>
            </a:r>
            <a:r>
              <a:rPr lang="en-US" sz="2000" b="0" dirty="0" err="1" smtClean="0">
                <a:solidFill>
                  <a:srgbClr val="003399"/>
                </a:solidFill>
              </a:rPr>
              <a:t>Reqt</a:t>
            </a:r>
            <a:r>
              <a:rPr lang="en-US" sz="2000" b="0" dirty="0" smtClean="0">
                <a:solidFill>
                  <a:srgbClr val="003399"/>
                </a:solidFill>
              </a:rPr>
              <a:t> - NCV </a:t>
            </a:r>
            <a:r>
              <a:rPr lang="en-US" sz="2000" b="0" dirty="0">
                <a:solidFill>
                  <a:srgbClr val="003399"/>
                </a:solidFill>
              </a:rPr>
              <a:t>3 , NTC 2 and CBMT Phases</a:t>
            </a: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2000" b="0" dirty="0" smtClean="0">
              <a:solidFill>
                <a:srgbClr val="003399"/>
              </a:solidFill>
            </a:endParaRP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Qualified artisan (mentor)</a:t>
            </a: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2000" b="0" dirty="0">
              <a:solidFill>
                <a:srgbClr val="003399"/>
              </a:solidFill>
            </a:endParaRP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Workplace approved by Seta</a:t>
            </a: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sz="2000" b="0" dirty="0" smtClean="0">
              <a:solidFill>
                <a:srgbClr val="003399"/>
              </a:solidFill>
            </a:endParaRP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rgbClr val="003399"/>
                </a:solidFill>
              </a:rPr>
              <a:t>Contracts to be signed (M&amp;E – SAOGA)</a:t>
            </a:r>
            <a:endParaRPr lang="en-US" sz="2000" b="0" dirty="0">
              <a:solidFill>
                <a:srgbClr val="003399"/>
              </a:solidFill>
            </a:endParaRPr>
          </a:p>
          <a:p>
            <a:pPr marL="342900" indent="-342900" defTabSz="7112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 smtClean="0">
              <a:solidFill>
                <a:srgbClr val="003399"/>
              </a:solidFill>
            </a:endParaRPr>
          </a:p>
          <a:p>
            <a:pPr defTabSz="711200">
              <a:lnSpc>
                <a:spcPct val="90000"/>
              </a:lnSpc>
              <a:spcAft>
                <a:spcPct val="35000"/>
              </a:spcAft>
            </a:pPr>
            <a:endParaRPr lang="en-US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948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669213" cy="559256"/>
          </a:xfrm>
        </p:spPr>
        <p:txBody>
          <a:bodyPr/>
          <a:lstStyle/>
          <a:p>
            <a:r>
              <a:rPr lang="en-ZA" dirty="0" smtClean="0"/>
              <a:t>Available TVET Trades Exits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Premier Stocktake</a:t>
            </a:r>
            <a:endParaRPr lang="en-GB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4840371"/>
              </p:ext>
            </p:extLst>
          </p:nvPr>
        </p:nvGraphicFramePr>
        <p:xfrm>
          <a:off x="323528" y="1124744"/>
          <a:ext cx="8640960" cy="5006410"/>
        </p:xfrm>
        <a:graphic>
          <a:graphicData uri="http://schemas.openxmlformats.org/drawingml/2006/table">
            <a:tbl>
              <a:tblPr firstRow="1" firstCol="1" bandRow="1">
                <a:tableStyleId>{3C2FFA5D-87B4-456A-9821-1D502468CF0F}</a:tableStyleId>
              </a:tblPr>
              <a:tblGrid>
                <a:gridCol w="1440160"/>
                <a:gridCol w="1368152"/>
                <a:gridCol w="1080120"/>
                <a:gridCol w="1440160"/>
                <a:gridCol w="1080120"/>
                <a:gridCol w="1080120"/>
                <a:gridCol w="1152128"/>
              </a:tblGrid>
              <a:tr h="543188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Occupations</a:t>
                      </a:r>
                      <a:endParaRPr lang="en-ZA" sz="12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Westcoast College </a:t>
                      </a:r>
                      <a:r>
                        <a:rPr lang="en-ZA" sz="1200" b="1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Vredenburg</a:t>
                      </a:r>
                      <a:endParaRPr lang="en-ZA" sz="12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laced to-date</a:t>
                      </a:r>
                      <a:endParaRPr lang="en-ZA" sz="12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200" b="1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orthlink</a:t>
                      </a:r>
                      <a:r>
                        <a:rPr lang="en-ZA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College</a:t>
                      </a:r>
                      <a:endParaRPr lang="en-ZA" sz="12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laced to-date</a:t>
                      </a:r>
                      <a:endParaRPr lang="en-ZA" sz="12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Atlantis Campus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2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laced to date</a:t>
                      </a:r>
                      <a:endParaRPr lang="en-ZA" sz="12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3188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Fitters &amp; Turners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2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8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52730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ZA" sz="1000" b="1" dirty="0" smtClean="0">
                          <a:effectLst/>
                          <a:latin typeface="+mn-lt"/>
                        </a:rPr>
                        <a:t>Welders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9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511087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anel Beater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9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511087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Spraypainters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9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62123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</a:rPr>
                        <a:t>Boilermaker</a:t>
                      </a:r>
                      <a:r>
                        <a:rPr lang="en-ZA" sz="1000" b="1" dirty="0">
                          <a:effectLst/>
                          <a:latin typeface="+mn-lt"/>
                        </a:rPr>
                        <a:t>	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3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6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6212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/>
                        <a:buChar char=""/>
                        <a:tabLst/>
                        <a:defRPr/>
                      </a:pPr>
                      <a:r>
                        <a:rPr lang="en-ZA" sz="1000" b="1" dirty="0" smtClean="0">
                          <a:effectLst/>
                          <a:latin typeface="+mn-lt"/>
                        </a:rPr>
                        <a:t>Motor Mechanic</a:t>
                      </a:r>
                      <a:r>
                        <a:rPr lang="en-ZA" sz="1000" b="1" dirty="0">
                          <a:effectLst/>
                          <a:latin typeface="+mn-lt"/>
                        </a:rPr>
                        <a:t>	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None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4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17717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</a:rPr>
                        <a:t>Diesel Mechanic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0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46933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Electricians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1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7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46933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Auto Electricians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3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46933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lumbers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</a:t>
                      </a: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endParaRPr lang="en-ZA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27" marR="4342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292080" y="6581253"/>
            <a:ext cx="35306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ZA" sz="900" b="1" dirty="0"/>
          </a:p>
        </p:txBody>
      </p:sp>
    </p:spTree>
    <p:extLst>
      <p:ext uri="{BB962C8B-B14F-4D97-AF65-F5344CB8AC3E}">
        <p14:creationId xmlns:p14="http://schemas.microsoft.com/office/powerpoint/2010/main" val="2420143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Benefits to industry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Premier Stocktak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Extra workforce - 50% productiv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ZA" sz="24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Create employment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ZA" sz="24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Competent employe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ZA" sz="24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Improve competitivenes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ZA" sz="24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Training linked to industry demand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ZA" sz="24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Improve succession pathway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/>
              <a:t>Improve average age of </a:t>
            </a:r>
            <a:r>
              <a:rPr lang="en-ZA" sz="2400" dirty="0" smtClean="0"/>
              <a:t>artisan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ZA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/>
              <a:t>Improve BBBEE score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ZA" sz="24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Foster </a:t>
            </a:r>
            <a:r>
              <a:rPr lang="en-ZA" sz="2400" dirty="0"/>
              <a:t>stability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ZA" sz="24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Enterprise </a:t>
            </a:r>
            <a:r>
              <a:rPr lang="en-ZA" sz="2400" dirty="0"/>
              <a:t>development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ZA" sz="24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Position </a:t>
            </a:r>
            <a:r>
              <a:rPr lang="en-ZA" sz="2400" dirty="0"/>
              <a:t>for </a:t>
            </a:r>
            <a:r>
              <a:rPr lang="en-ZA" sz="2400" dirty="0" smtClean="0"/>
              <a:t>growth</a:t>
            </a:r>
          </a:p>
          <a:p>
            <a:endParaRPr lang="en-ZA" sz="2400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ZA" sz="2400" dirty="0" smtClean="0"/>
              <a:t>Continuity – </a:t>
            </a:r>
            <a:r>
              <a:rPr lang="en-ZA" sz="2400" smtClean="0"/>
              <a:t>in company</a:t>
            </a:r>
            <a:endParaRPr lang="en-ZA" sz="2400" dirty="0"/>
          </a:p>
          <a:p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8358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yPDc+YGAsVDnrAdBfm5OLomapWE3kVAqh9b2jawd28kRYNSZ2VM9Zq8jLnRQsKd+zm3flYlSQ3N6EyKkSMGAbtXZPDAgzPCqp12cLtaehhktX0tL2QJLqhJXT50rTZFve8mXKum9VLtDf8/Ef4PJE20Wfd9sEmg5jcWpaEZMyas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C8/q60M0YuBlFEBS4Fgf1MnNEuDcEifs"/>
  <p:tag name="SMARTBOX_SB8" val="78V2qfG9+lJxeVSytWgAyA=="/>
  <p:tag name="SMARTBOX_SB7" val="SGvbIBPBLto10CWdREvKrQ==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C8/q60M0YuBlFEBS4Fgf1MnNEuDcEifs"/>
  <p:tag name="SMARTBOX_SB8" val="78V2qfG9+lJxeVSytWgAyA=="/>
  <p:tag name="SMARTBOX_SB7" val="SGvbIBPBLto10CWdREvKrQ==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C8/q60M0YuBlFEBS4Fgf1MnNEuDcEifs"/>
  <p:tag name="SMARTBOX_SB8" val="78V2qfG9+lJxeVSytWgAyA=="/>
  <p:tag name="SMARTBOX_SB7" val="SGvbIBPBLto10CWdREvKrQ==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heme/theme1.xml><?xml version="1.0" encoding="utf-8"?>
<a:theme xmlns:a="http://schemas.openxmlformats.org/drawingml/2006/main" name="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5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783</TotalTime>
  <Words>682</Words>
  <Application>Microsoft Office PowerPoint</Application>
  <PresentationFormat>On-screen Show (4:3)</PresentationFormat>
  <Paragraphs>264</Paragraphs>
  <Slides>1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WCG-New PPT Master-01112012</vt:lpstr>
      <vt:lpstr>1_WCG-New PPT Master-01112012</vt:lpstr>
      <vt:lpstr>2_WCG-New PPT Master-01112012</vt:lpstr>
      <vt:lpstr>3_WCG-New PPT Master-01112012</vt:lpstr>
      <vt:lpstr>4_WCG-New PPT Master-01112012</vt:lpstr>
      <vt:lpstr>5_WCG-New PPT Master-01112012</vt:lpstr>
      <vt:lpstr>think-cell Slide</vt:lpstr>
      <vt:lpstr> DEDAT Artisan Development Programme</vt:lpstr>
      <vt:lpstr>Game Changer</vt:lpstr>
      <vt:lpstr>PowerPoint Presentation</vt:lpstr>
      <vt:lpstr>PowerPoint Presentation</vt:lpstr>
      <vt:lpstr>How we think change could happen (Levers) </vt:lpstr>
      <vt:lpstr>Placement Model</vt:lpstr>
      <vt:lpstr>PowerPoint Presentation</vt:lpstr>
      <vt:lpstr>Available TVET Trades Exits</vt:lpstr>
      <vt:lpstr>Benefits to industry</vt:lpstr>
      <vt:lpstr>Game Changer</vt:lpstr>
      <vt:lpstr>Work and Skills</vt:lpstr>
      <vt:lpstr>                      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abral</dc:creator>
  <cp:keywords>POTX</cp:keywords>
  <cp:lastModifiedBy>User</cp:lastModifiedBy>
  <cp:revision>797</cp:revision>
  <cp:lastPrinted>2016-03-15T06:42:56Z</cp:lastPrinted>
  <dcterms:created xsi:type="dcterms:W3CDTF">2013-02-21T07:48:10Z</dcterms:created>
  <dcterms:modified xsi:type="dcterms:W3CDTF">2016-05-31T10:42:06Z</dcterms:modified>
  <cp:category>CI</cp:category>
</cp:coreProperties>
</file>